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80.xml" ContentType="application/vnd.openxmlformats-officedocument.presentationml.tags+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99" r:id="rId2"/>
  </p:sldMasterIdLst>
  <p:notesMasterIdLst>
    <p:notesMasterId r:id="rId37"/>
  </p:notesMasterIdLst>
  <p:handoutMasterIdLst>
    <p:handoutMasterId r:id="rId38"/>
  </p:handoutMasterIdLst>
  <p:sldIdLst>
    <p:sldId id="448" r:id="rId3"/>
    <p:sldId id="452" r:id="rId4"/>
    <p:sldId id="423" r:id="rId5"/>
    <p:sldId id="454" r:id="rId6"/>
    <p:sldId id="435" r:id="rId7"/>
    <p:sldId id="437" r:id="rId8"/>
    <p:sldId id="439" r:id="rId9"/>
    <p:sldId id="436" r:id="rId10"/>
    <p:sldId id="428" r:id="rId11"/>
    <p:sldId id="438" r:id="rId12"/>
    <p:sldId id="442" r:id="rId13"/>
    <p:sldId id="443" r:id="rId14"/>
    <p:sldId id="440" r:id="rId15"/>
    <p:sldId id="441" r:id="rId16"/>
    <p:sldId id="458" r:id="rId17"/>
    <p:sldId id="447" r:id="rId18"/>
    <p:sldId id="446" r:id="rId19"/>
    <p:sldId id="444" r:id="rId20"/>
    <p:sldId id="445" r:id="rId21"/>
    <p:sldId id="460" r:id="rId22"/>
    <p:sldId id="449" r:id="rId23"/>
    <p:sldId id="453" r:id="rId24"/>
    <p:sldId id="450" r:id="rId25"/>
    <p:sldId id="451" r:id="rId26"/>
    <p:sldId id="455" r:id="rId27"/>
    <p:sldId id="461" r:id="rId28"/>
    <p:sldId id="462" r:id="rId29"/>
    <p:sldId id="463" r:id="rId30"/>
    <p:sldId id="457" r:id="rId31"/>
    <p:sldId id="459" r:id="rId32"/>
    <p:sldId id="464" r:id="rId33"/>
    <p:sldId id="465" r:id="rId34"/>
    <p:sldId id="466" r:id="rId35"/>
    <p:sldId id="420" r:id="rId36"/>
  </p:sldIdLst>
  <p:sldSz cx="9144000" cy="5143500" type="screen16x9"/>
  <p:notesSz cx="6858000" cy="9144000"/>
  <p:custDataLst>
    <p:tags r:id="rId3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Quick guide" id="{53D28D6B-1B6D-4E3A-A143-8092D886512B}">
          <p14:sldIdLst>
            <p14:sldId id="448"/>
            <p14:sldId id="452"/>
            <p14:sldId id="423"/>
            <p14:sldId id="454"/>
            <p14:sldId id="435"/>
            <p14:sldId id="437"/>
            <p14:sldId id="439"/>
            <p14:sldId id="436"/>
            <p14:sldId id="428"/>
            <p14:sldId id="438"/>
            <p14:sldId id="442"/>
            <p14:sldId id="443"/>
            <p14:sldId id="440"/>
            <p14:sldId id="441"/>
            <p14:sldId id="458"/>
            <p14:sldId id="447"/>
            <p14:sldId id="446"/>
            <p14:sldId id="444"/>
            <p14:sldId id="445"/>
            <p14:sldId id="460"/>
            <p14:sldId id="449"/>
            <p14:sldId id="453"/>
            <p14:sldId id="450"/>
            <p14:sldId id="451"/>
            <p14:sldId id="455"/>
            <p14:sldId id="461"/>
            <p14:sldId id="462"/>
            <p14:sldId id="463"/>
            <p14:sldId id="457"/>
            <p14:sldId id="459"/>
            <p14:sldId id="464"/>
            <p14:sldId id="465"/>
            <p14:sldId id="466"/>
          </p14:sldIdLst>
        </p14:section>
        <p14:section name="Slides" id="{5D964D4D-B45C-41B8-8D71-E8AD6D248A9E}">
          <p14:sldIdLst>
            <p14:sldId id="420"/>
          </p14:sldIdLst>
        </p14:section>
      </p14:sectionLst>
    </p:ext>
    <p:ext uri="{EFAFB233-063F-42B5-8137-9DF3F51BA10A}">
      <p15:sldGuideLst xmlns:p15="http://schemas.microsoft.com/office/powerpoint/2012/main">
        <p15:guide id="4" orient="horz" pos="796" userDrawn="1">
          <p15:clr>
            <a:srgbClr val="A4A3A4"/>
          </p15:clr>
        </p15:guide>
        <p15:guide id="5" orient="horz" pos="1531">
          <p15:clr>
            <a:srgbClr val="A4A3A4"/>
          </p15:clr>
        </p15:guide>
        <p15:guide id="6" orient="horz" pos="2267">
          <p15:clr>
            <a:srgbClr val="A4A3A4"/>
          </p15:clr>
        </p15:guide>
        <p15:guide id="7" orient="horz" pos="3003">
          <p15:clr>
            <a:srgbClr val="A4A3A4"/>
          </p15:clr>
        </p15:guide>
        <p15:guide id="8" orient="horz" pos="395" userDrawn="1">
          <p15:clr>
            <a:srgbClr val="A4A3A4"/>
          </p15:clr>
        </p15:guide>
        <p15:guide id="9" orient="horz" pos="276">
          <p15:clr>
            <a:srgbClr val="A4A3A4"/>
          </p15:clr>
        </p15:guide>
        <p15:guide id="10" orient="horz" pos="3124">
          <p15:clr>
            <a:srgbClr val="A4A3A4"/>
          </p15:clr>
        </p15:guide>
        <p15:guide id="11" pos="117" userDrawn="1">
          <p15:clr>
            <a:srgbClr val="A4A3A4"/>
          </p15:clr>
        </p15:guide>
        <p15:guide id="12" pos="1119" userDrawn="1">
          <p15:clr>
            <a:srgbClr val="A4A3A4"/>
          </p15:clr>
        </p15:guide>
        <p15:guide id="14" pos="1622" userDrawn="1">
          <p15:clr>
            <a:srgbClr val="A4A3A4"/>
          </p15:clr>
        </p15:guide>
        <p15:guide id="15" pos="2124" userDrawn="1">
          <p15:clr>
            <a:srgbClr val="A4A3A4"/>
          </p15:clr>
        </p15:guide>
        <p15:guide id="16" pos="2628" userDrawn="1">
          <p15:clr>
            <a:srgbClr val="A4A3A4"/>
          </p15:clr>
        </p15:guide>
        <p15:guide id="17" pos="3132" userDrawn="1">
          <p15:clr>
            <a:srgbClr val="A4A3A4"/>
          </p15:clr>
        </p15:guide>
        <p15:guide id="18" pos="3635" userDrawn="1">
          <p15:clr>
            <a:srgbClr val="A4A3A4"/>
          </p15:clr>
        </p15:guide>
        <p15:guide id="19" pos="4137" userDrawn="1">
          <p15:clr>
            <a:srgbClr val="A4A3A4"/>
          </p15:clr>
        </p15:guide>
        <p15:guide id="20" pos="4640" userDrawn="1">
          <p15:clr>
            <a:srgbClr val="A4A3A4"/>
          </p15:clr>
        </p15:guide>
        <p15:guide id="21" pos="5643"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680E597-242C-4D2A-B032-16783446CE66}" v="56" dt="2021-12-02T16:35:02.231"/>
  </p1510:revLst>
</p1510:revInfo>
</file>

<file path=ppt/tableStyles.xml><?xml version="1.0" encoding="utf-8"?>
<a:tblStyleLst xmlns:a="http://schemas.openxmlformats.org/drawingml/2006/main" def="{D27102A9-8310-4765-A935-A1911B00CA5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5116" autoAdjust="0"/>
  </p:normalViewPr>
  <p:slideViewPr>
    <p:cSldViewPr snapToGrid="0" snapToObjects="1">
      <p:cViewPr varScale="1">
        <p:scale>
          <a:sx n="91" d="100"/>
          <a:sy n="91" d="100"/>
        </p:scale>
        <p:origin x="948" y="78"/>
      </p:cViewPr>
      <p:guideLst>
        <p:guide orient="horz" pos="796"/>
        <p:guide orient="horz" pos="1531"/>
        <p:guide orient="horz" pos="2267"/>
        <p:guide orient="horz" pos="3003"/>
        <p:guide orient="horz" pos="395"/>
        <p:guide orient="horz" pos="276"/>
        <p:guide orient="horz" pos="3124"/>
        <p:guide pos="117"/>
        <p:guide pos="1119"/>
        <p:guide pos="1622"/>
        <p:guide pos="2124"/>
        <p:guide pos="2628"/>
        <p:guide pos="3132"/>
        <p:guide pos="3635"/>
        <p:guide pos="4137"/>
        <p:guide pos="4640"/>
        <p:guide pos="5643"/>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 d="2"/>
        <a:sy n="1" d="2"/>
      </p:scale>
      <p:origin x="0" y="0"/>
    </p:cViewPr>
  </p:sorterViewPr>
  <p:notesViewPr>
    <p:cSldViewPr snapToGrid="0" snapToObjects="1">
      <p:cViewPr varScale="1">
        <p:scale>
          <a:sx n="88" d="100"/>
          <a:sy n="88" d="100"/>
        </p:scale>
        <p:origin x="3822"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ags" Target="tags/tag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notesMaster" Target="notesMasters/notesMaster1.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microsoft.com/office/2016/11/relationships/changesInfo" Target="changesInfos/changesInfo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ableStyles" Target="tableStyle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handoutMaster" Target="handoutMasters/handoutMaster1.xml"/><Relationship Id="rId20" Type="http://schemas.openxmlformats.org/officeDocument/2006/relationships/slide" Target="slides/slide18.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nchis Soriano, Ruben" userId="3b6ded5a-dd21-40b3-88fa-151fbbcebe89" providerId="ADAL" clId="{E680E597-242C-4D2A-B032-16783446CE66}"/>
    <pc:docChg chg="undo custSel modSld modMainMaster">
      <pc:chgData name="Sanchis Soriano, Ruben" userId="3b6ded5a-dd21-40b3-88fa-151fbbcebe89" providerId="ADAL" clId="{E680E597-242C-4D2A-B032-16783446CE66}" dt="2021-12-02T16:35:02.231" v="300"/>
      <pc:docMkLst>
        <pc:docMk/>
      </pc:docMkLst>
      <pc:sldChg chg="addSp delSp modSp mod">
        <pc:chgData name="Sanchis Soriano, Ruben" userId="3b6ded5a-dd21-40b3-88fa-151fbbcebe89" providerId="ADAL" clId="{E680E597-242C-4D2A-B032-16783446CE66}" dt="2021-12-02T16:30:57.400" v="285" actId="1076"/>
        <pc:sldMkLst>
          <pc:docMk/>
          <pc:sldMk cId="36088132" sldId="420"/>
        </pc:sldMkLst>
        <pc:spChg chg="add del mod">
          <ac:chgData name="Sanchis Soriano, Ruben" userId="3b6ded5a-dd21-40b3-88fa-151fbbcebe89" providerId="ADAL" clId="{E680E597-242C-4D2A-B032-16783446CE66}" dt="2021-12-02T16:27:41.016" v="240" actId="478"/>
          <ac:spMkLst>
            <pc:docMk/>
            <pc:sldMk cId="36088132" sldId="420"/>
            <ac:spMk id="3" creationId="{AE0422C2-07B2-457C-A0DD-2A053B82428B}"/>
          </ac:spMkLst>
        </pc:spChg>
        <pc:spChg chg="add mod">
          <ac:chgData name="Sanchis Soriano, Ruben" userId="3b6ded5a-dd21-40b3-88fa-151fbbcebe89" providerId="ADAL" clId="{E680E597-242C-4D2A-B032-16783446CE66}" dt="2021-12-02T16:30:57.400" v="285" actId="1076"/>
          <ac:spMkLst>
            <pc:docMk/>
            <pc:sldMk cId="36088132" sldId="420"/>
            <ac:spMk id="6" creationId="{59A3C730-3535-4B4E-95F7-9F4CBFD17A7D}"/>
          </ac:spMkLst>
        </pc:spChg>
        <pc:spChg chg="del">
          <ac:chgData name="Sanchis Soriano, Ruben" userId="3b6ded5a-dd21-40b3-88fa-151fbbcebe89" providerId="ADAL" clId="{E680E597-242C-4D2A-B032-16783446CE66}" dt="2021-12-02T16:27:34.943" v="239" actId="478"/>
          <ac:spMkLst>
            <pc:docMk/>
            <pc:sldMk cId="36088132" sldId="420"/>
            <ac:spMk id="10" creationId="{00000000-0000-0000-0000-000000000000}"/>
          </ac:spMkLst>
        </pc:spChg>
        <pc:spChg chg="mod">
          <ac:chgData name="Sanchis Soriano, Ruben" userId="3b6ded5a-dd21-40b3-88fa-151fbbcebe89" providerId="ADAL" clId="{E680E597-242C-4D2A-B032-16783446CE66}" dt="2021-12-02T16:27:29.012" v="238" actId="20577"/>
          <ac:spMkLst>
            <pc:docMk/>
            <pc:sldMk cId="36088132" sldId="420"/>
            <ac:spMk id="11" creationId="{00000000-0000-0000-0000-000000000000}"/>
          </ac:spMkLst>
        </pc:spChg>
      </pc:sldChg>
      <pc:sldChg chg="addSp modSp">
        <pc:chgData name="Sanchis Soriano, Ruben" userId="3b6ded5a-dd21-40b3-88fa-151fbbcebe89" providerId="ADAL" clId="{E680E597-242C-4D2A-B032-16783446CE66}" dt="2021-12-02T16:29:10.534" v="253"/>
        <pc:sldMkLst>
          <pc:docMk/>
          <pc:sldMk cId="1119013344" sldId="423"/>
        </pc:sldMkLst>
        <pc:picChg chg="add mod">
          <ac:chgData name="Sanchis Soriano, Ruben" userId="3b6ded5a-dd21-40b3-88fa-151fbbcebe89" providerId="ADAL" clId="{E680E597-242C-4D2A-B032-16783446CE66}" dt="2021-12-02T16:29:10.534" v="253"/>
          <ac:picMkLst>
            <pc:docMk/>
            <pc:sldMk cId="1119013344" sldId="423"/>
            <ac:picMk id="8" creationId="{C436D167-AA00-4154-A711-C43CCBDE31F1}"/>
          </ac:picMkLst>
        </pc:picChg>
      </pc:sldChg>
      <pc:sldChg chg="addSp modSp">
        <pc:chgData name="Sanchis Soriano, Ruben" userId="3b6ded5a-dd21-40b3-88fa-151fbbcebe89" providerId="ADAL" clId="{E680E597-242C-4D2A-B032-16783446CE66}" dt="2021-12-02T16:29:30.375" v="259"/>
        <pc:sldMkLst>
          <pc:docMk/>
          <pc:sldMk cId="4002786124" sldId="428"/>
        </pc:sldMkLst>
        <pc:picChg chg="add mod">
          <ac:chgData name="Sanchis Soriano, Ruben" userId="3b6ded5a-dd21-40b3-88fa-151fbbcebe89" providerId="ADAL" clId="{E680E597-242C-4D2A-B032-16783446CE66}" dt="2021-12-02T16:29:30.375" v="259"/>
          <ac:picMkLst>
            <pc:docMk/>
            <pc:sldMk cId="4002786124" sldId="428"/>
            <ac:picMk id="217" creationId="{31A10F95-3DEA-4F2B-B301-FD633FDA45FB}"/>
          </ac:picMkLst>
        </pc:picChg>
      </pc:sldChg>
      <pc:sldChg chg="addSp modSp">
        <pc:chgData name="Sanchis Soriano, Ruben" userId="3b6ded5a-dd21-40b3-88fa-151fbbcebe89" providerId="ADAL" clId="{E680E597-242C-4D2A-B032-16783446CE66}" dt="2021-12-02T16:29:16.413" v="255"/>
        <pc:sldMkLst>
          <pc:docMk/>
          <pc:sldMk cId="1318692922" sldId="435"/>
        </pc:sldMkLst>
        <pc:picChg chg="add mod">
          <ac:chgData name="Sanchis Soriano, Ruben" userId="3b6ded5a-dd21-40b3-88fa-151fbbcebe89" providerId="ADAL" clId="{E680E597-242C-4D2A-B032-16783446CE66}" dt="2021-12-02T16:29:16.413" v="255"/>
          <ac:picMkLst>
            <pc:docMk/>
            <pc:sldMk cId="1318692922" sldId="435"/>
            <ac:picMk id="57" creationId="{F77BD207-3010-425A-8BCA-F0D544B38C56}"/>
          </ac:picMkLst>
        </pc:picChg>
      </pc:sldChg>
      <pc:sldChg chg="addSp modSp">
        <pc:chgData name="Sanchis Soriano, Ruben" userId="3b6ded5a-dd21-40b3-88fa-151fbbcebe89" providerId="ADAL" clId="{E680E597-242C-4D2A-B032-16783446CE66}" dt="2021-12-02T16:29:27.641" v="258"/>
        <pc:sldMkLst>
          <pc:docMk/>
          <pc:sldMk cId="986319551" sldId="436"/>
        </pc:sldMkLst>
        <pc:picChg chg="add mod">
          <ac:chgData name="Sanchis Soriano, Ruben" userId="3b6ded5a-dd21-40b3-88fa-151fbbcebe89" providerId="ADAL" clId="{E680E597-242C-4D2A-B032-16783446CE66}" dt="2021-12-02T16:29:27.641" v="258"/>
          <ac:picMkLst>
            <pc:docMk/>
            <pc:sldMk cId="986319551" sldId="436"/>
            <ac:picMk id="59" creationId="{7B622978-DBE6-4DE4-A95E-1FD92CE51103}"/>
          </ac:picMkLst>
        </pc:picChg>
      </pc:sldChg>
      <pc:sldChg chg="addSp modSp">
        <pc:chgData name="Sanchis Soriano, Ruben" userId="3b6ded5a-dd21-40b3-88fa-151fbbcebe89" providerId="ADAL" clId="{E680E597-242C-4D2A-B032-16783446CE66}" dt="2021-12-02T16:29:19.231" v="256"/>
        <pc:sldMkLst>
          <pc:docMk/>
          <pc:sldMk cId="2066621442" sldId="437"/>
        </pc:sldMkLst>
        <pc:picChg chg="add mod">
          <ac:chgData name="Sanchis Soriano, Ruben" userId="3b6ded5a-dd21-40b3-88fa-151fbbcebe89" providerId="ADAL" clId="{E680E597-242C-4D2A-B032-16783446CE66}" dt="2021-12-02T16:29:19.231" v="256"/>
          <ac:picMkLst>
            <pc:docMk/>
            <pc:sldMk cId="2066621442" sldId="437"/>
            <ac:picMk id="72" creationId="{B211338B-4733-494E-920B-91CDC8846485}"/>
          </ac:picMkLst>
        </pc:picChg>
      </pc:sldChg>
      <pc:sldChg chg="addSp modSp">
        <pc:chgData name="Sanchis Soriano, Ruben" userId="3b6ded5a-dd21-40b3-88fa-151fbbcebe89" providerId="ADAL" clId="{E680E597-242C-4D2A-B032-16783446CE66}" dt="2021-12-02T16:29:33.183" v="260"/>
        <pc:sldMkLst>
          <pc:docMk/>
          <pc:sldMk cId="2304940665" sldId="438"/>
        </pc:sldMkLst>
        <pc:picChg chg="add mod">
          <ac:chgData name="Sanchis Soriano, Ruben" userId="3b6ded5a-dd21-40b3-88fa-151fbbcebe89" providerId="ADAL" clId="{E680E597-242C-4D2A-B032-16783446CE66}" dt="2021-12-02T16:29:33.183" v="260"/>
          <ac:picMkLst>
            <pc:docMk/>
            <pc:sldMk cId="2304940665" sldId="438"/>
            <ac:picMk id="87" creationId="{6BC299B9-AA93-4FD5-8AA9-879FD1AD3F2D}"/>
          </ac:picMkLst>
        </pc:picChg>
      </pc:sldChg>
      <pc:sldChg chg="addSp modSp">
        <pc:chgData name="Sanchis Soriano, Ruben" userId="3b6ded5a-dd21-40b3-88fa-151fbbcebe89" providerId="ADAL" clId="{E680E597-242C-4D2A-B032-16783446CE66}" dt="2021-12-02T16:29:23.839" v="257"/>
        <pc:sldMkLst>
          <pc:docMk/>
          <pc:sldMk cId="3994855254" sldId="439"/>
        </pc:sldMkLst>
        <pc:picChg chg="add mod">
          <ac:chgData name="Sanchis Soriano, Ruben" userId="3b6ded5a-dd21-40b3-88fa-151fbbcebe89" providerId="ADAL" clId="{E680E597-242C-4D2A-B032-16783446CE66}" dt="2021-12-02T16:29:23.839" v="257"/>
          <ac:picMkLst>
            <pc:docMk/>
            <pc:sldMk cId="3994855254" sldId="439"/>
            <ac:picMk id="29" creationId="{2A44371F-B081-47AE-85C9-11B39D0371BB}"/>
          </ac:picMkLst>
        </pc:picChg>
      </pc:sldChg>
      <pc:sldChg chg="addSp modSp">
        <pc:chgData name="Sanchis Soriano, Ruben" userId="3b6ded5a-dd21-40b3-88fa-151fbbcebe89" providerId="ADAL" clId="{E680E597-242C-4D2A-B032-16783446CE66}" dt="2021-12-02T16:29:41.538" v="263"/>
        <pc:sldMkLst>
          <pc:docMk/>
          <pc:sldMk cId="45801321" sldId="440"/>
        </pc:sldMkLst>
        <pc:picChg chg="add mod">
          <ac:chgData name="Sanchis Soriano, Ruben" userId="3b6ded5a-dd21-40b3-88fa-151fbbcebe89" providerId="ADAL" clId="{E680E597-242C-4D2A-B032-16783446CE66}" dt="2021-12-02T16:29:41.538" v="263"/>
          <ac:picMkLst>
            <pc:docMk/>
            <pc:sldMk cId="45801321" sldId="440"/>
            <ac:picMk id="23" creationId="{D96A26BF-1F61-4F49-8298-A0A181366C67}"/>
          </ac:picMkLst>
        </pc:picChg>
      </pc:sldChg>
      <pc:sldChg chg="addSp modSp">
        <pc:chgData name="Sanchis Soriano, Ruben" userId="3b6ded5a-dd21-40b3-88fa-151fbbcebe89" providerId="ADAL" clId="{E680E597-242C-4D2A-B032-16783446CE66}" dt="2021-12-02T16:29:44.356" v="264"/>
        <pc:sldMkLst>
          <pc:docMk/>
          <pc:sldMk cId="2151375825" sldId="441"/>
        </pc:sldMkLst>
        <pc:picChg chg="add mod">
          <ac:chgData name="Sanchis Soriano, Ruben" userId="3b6ded5a-dd21-40b3-88fa-151fbbcebe89" providerId="ADAL" clId="{E680E597-242C-4D2A-B032-16783446CE66}" dt="2021-12-02T16:29:44.356" v="264"/>
          <ac:picMkLst>
            <pc:docMk/>
            <pc:sldMk cId="2151375825" sldId="441"/>
            <ac:picMk id="190" creationId="{BC8A0CF4-1D64-4436-8544-F15CD6A50D25}"/>
          </ac:picMkLst>
        </pc:picChg>
      </pc:sldChg>
      <pc:sldChg chg="addSp modSp">
        <pc:chgData name="Sanchis Soriano, Ruben" userId="3b6ded5a-dd21-40b3-88fa-151fbbcebe89" providerId="ADAL" clId="{E680E597-242C-4D2A-B032-16783446CE66}" dt="2021-12-02T16:29:36.066" v="261"/>
        <pc:sldMkLst>
          <pc:docMk/>
          <pc:sldMk cId="1196832590" sldId="442"/>
        </pc:sldMkLst>
        <pc:picChg chg="add mod">
          <ac:chgData name="Sanchis Soriano, Ruben" userId="3b6ded5a-dd21-40b3-88fa-151fbbcebe89" providerId="ADAL" clId="{E680E597-242C-4D2A-B032-16783446CE66}" dt="2021-12-02T16:29:36.066" v="261"/>
          <ac:picMkLst>
            <pc:docMk/>
            <pc:sldMk cId="1196832590" sldId="442"/>
            <ac:picMk id="12" creationId="{9AD170AD-5656-4E07-9D7A-4DAA856B3AE2}"/>
          </ac:picMkLst>
        </pc:picChg>
      </pc:sldChg>
      <pc:sldChg chg="addSp modSp">
        <pc:chgData name="Sanchis Soriano, Ruben" userId="3b6ded5a-dd21-40b3-88fa-151fbbcebe89" providerId="ADAL" clId="{E680E597-242C-4D2A-B032-16783446CE66}" dt="2021-12-02T16:29:38.829" v="262"/>
        <pc:sldMkLst>
          <pc:docMk/>
          <pc:sldMk cId="2275158038" sldId="443"/>
        </pc:sldMkLst>
        <pc:picChg chg="add mod">
          <ac:chgData name="Sanchis Soriano, Ruben" userId="3b6ded5a-dd21-40b3-88fa-151fbbcebe89" providerId="ADAL" clId="{E680E597-242C-4D2A-B032-16783446CE66}" dt="2021-12-02T16:29:38.829" v="262"/>
          <ac:picMkLst>
            <pc:docMk/>
            <pc:sldMk cId="2275158038" sldId="443"/>
            <ac:picMk id="187" creationId="{B3C90BA0-5E78-4890-9CDB-F51E567A57E7}"/>
          </ac:picMkLst>
        </pc:picChg>
      </pc:sldChg>
      <pc:sldChg chg="addSp modSp">
        <pc:chgData name="Sanchis Soriano, Ruben" userId="3b6ded5a-dd21-40b3-88fa-151fbbcebe89" providerId="ADAL" clId="{E680E597-242C-4D2A-B032-16783446CE66}" dt="2021-12-02T16:29:54.793" v="268"/>
        <pc:sldMkLst>
          <pc:docMk/>
          <pc:sldMk cId="1965590004" sldId="444"/>
        </pc:sldMkLst>
        <pc:picChg chg="add mod">
          <ac:chgData name="Sanchis Soriano, Ruben" userId="3b6ded5a-dd21-40b3-88fa-151fbbcebe89" providerId="ADAL" clId="{E680E597-242C-4D2A-B032-16783446CE66}" dt="2021-12-02T16:29:54.793" v="268"/>
          <ac:picMkLst>
            <pc:docMk/>
            <pc:sldMk cId="1965590004" sldId="444"/>
            <ac:picMk id="28" creationId="{158B453E-734D-4ADC-B6A2-E9F8CD221E9E}"/>
          </ac:picMkLst>
        </pc:picChg>
      </pc:sldChg>
      <pc:sldChg chg="addSp modSp">
        <pc:chgData name="Sanchis Soriano, Ruben" userId="3b6ded5a-dd21-40b3-88fa-151fbbcebe89" providerId="ADAL" clId="{E680E597-242C-4D2A-B032-16783446CE66}" dt="2021-12-02T16:29:57.185" v="269"/>
        <pc:sldMkLst>
          <pc:docMk/>
          <pc:sldMk cId="1258509130" sldId="445"/>
        </pc:sldMkLst>
        <pc:picChg chg="add mod">
          <ac:chgData name="Sanchis Soriano, Ruben" userId="3b6ded5a-dd21-40b3-88fa-151fbbcebe89" providerId="ADAL" clId="{E680E597-242C-4D2A-B032-16783446CE66}" dt="2021-12-02T16:29:57.185" v="269"/>
          <ac:picMkLst>
            <pc:docMk/>
            <pc:sldMk cId="1258509130" sldId="445"/>
            <ac:picMk id="9" creationId="{098D000A-910B-457F-A297-0172994F318B}"/>
          </ac:picMkLst>
        </pc:picChg>
      </pc:sldChg>
      <pc:sldChg chg="addSp modSp">
        <pc:chgData name="Sanchis Soriano, Ruben" userId="3b6ded5a-dd21-40b3-88fa-151fbbcebe89" providerId="ADAL" clId="{E680E597-242C-4D2A-B032-16783446CE66}" dt="2021-12-02T16:29:52.536" v="267"/>
        <pc:sldMkLst>
          <pc:docMk/>
          <pc:sldMk cId="2540253866" sldId="446"/>
        </pc:sldMkLst>
        <pc:picChg chg="add mod">
          <ac:chgData name="Sanchis Soriano, Ruben" userId="3b6ded5a-dd21-40b3-88fa-151fbbcebe89" providerId="ADAL" clId="{E680E597-242C-4D2A-B032-16783446CE66}" dt="2021-12-02T16:29:52.536" v="267"/>
          <ac:picMkLst>
            <pc:docMk/>
            <pc:sldMk cId="2540253866" sldId="446"/>
            <ac:picMk id="7" creationId="{2FAAE3BD-BDD8-4820-8DFE-5D4847D1172E}"/>
          </ac:picMkLst>
        </pc:picChg>
      </pc:sldChg>
      <pc:sldChg chg="addSp modSp">
        <pc:chgData name="Sanchis Soriano, Ruben" userId="3b6ded5a-dd21-40b3-88fa-151fbbcebe89" providerId="ADAL" clId="{E680E597-242C-4D2A-B032-16783446CE66}" dt="2021-12-02T16:29:49.181" v="266"/>
        <pc:sldMkLst>
          <pc:docMk/>
          <pc:sldMk cId="1525287133" sldId="447"/>
        </pc:sldMkLst>
        <pc:picChg chg="add mod">
          <ac:chgData name="Sanchis Soriano, Ruben" userId="3b6ded5a-dd21-40b3-88fa-151fbbcebe89" providerId="ADAL" clId="{E680E597-242C-4D2A-B032-16783446CE66}" dt="2021-12-02T16:29:49.181" v="266"/>
          <ac:picMkLst>
            <pc:docMk/>
            <pc:sldMk cId="1525287133" sldId="447"/>
            <ac:picMk id="7" creationId="{D5FE6998-1E47-4BB0-A3BD-B910F08C6CBF}"/>
          </ac:picMkLst>
        </pc:picChg>
      </pc:sldChg>
      <pc:sldChg chg="addSp delSp modSp mod">
        <pc:chgData name="Sanchis Soriano, Ruben" userId="3b6ded5a-dd21-40b3-88fa-151fbbcebe89" providerId="ADAL" clId="{E680E597-242C-4D2A-B032-16783446CE66}" dt="2021-12-02T16:35:02.231" v="300"/>
        <pc:sldMkLst>
          <pc:docMk/>
          <pc:sldMk cId="2851798536" sldId="448"/>
        </pc:sldMkLst>
        <pc:spChg chg="mod">
          <ac:chgData name="Sanchis Soriano, Ruben" userId="3b6ded5a-dd21-40b3-88fa-151fbbcebe89" providerId="ADAL" clId="{E680E597-242C-4D2A-B032-16783446CE66}" dt="2021-12-02T16:25:19.725" v="117" actId="1076"/>
          <ac:spMkLst>
            <pc:docMk/>
            <pc:sldMk cId="2851798536" sldId="448"/>
            <ac:spMk id="7" creationId="{00000000-0000-0000-0000-000000000000}"/>
          </ac:spMkLst>
        </pc:spChg>
        <pc:spChg chg="mod">
          <ac:chgData name="Sanchis Soriano, Ruben" userId="3b6ded5a-dd21-40b3-88fa-151fbbcebe89" providerId="ADAL" clId="{E680E597-242C-4D2A-B032-16783446CE66}" dt="2021-12-02T16:25:38.405" v="125" actId="20577"/>
          <ac:spMkLst>
            <pc:docMk/>
            <pc:sldMk cId="2851798536" sldId="448"/>
            <ac:spMk id="8" creationId="{00000000-0000-0000-0000-000000000000}"/>
          </ac:spMkLst>
        </pc:spChg>
        <pc:picChg chg="add mod">
          <ac:chgData name="Sanchis Soriano, Ruben" userId="3b6ded5a-dd21-40b3-88fa-151fbbcebe89" providerId="ADAL" clId="{E680E597-242C-4D2A-B032-16783446CE66}" dt="2021-12-02T16:35:02.231" v="300"/>
          <ac:picMkLst>
            <pc:docMk/>
            <pc:sldMk cId="2851798536" sldId="448"/>
            <ac:picMk id="9" creationId="{AC735B8D-71C0-47CF-8DAB-A95AF64B24B4}"/>
          </ac:picMkLst>
        </pc:picChg>
        <pc:picChg chg="add del mod">
          <ac:chgData name="Sanchis Soriano, Ruben" userId="3b6ded5a-dd21-40b3-88fa-151fbbcebe89" providerId="ADAL" clId="{E680E597-242C-4D2A-B032-16783446CE66}" dt="2021-12-02T16:34:55.304" v="299" actId="478"/>
          <ac:picMkLst>
            <pc:docMk/>
            <pc:sldMk cId="2851798536" sldId="448"/>
            <ac:picMk id="137218" creationId="{DBB6D4B5-904D-49C8-BFB9-3E321EBF898F}"/>
          </ac:picMkLst>
        </pc:picChg>
      </pc:sldChg>
      <pc:sldChg chg="addSp modSp">
        <pc:chgData name="Sanchis Soriano, Ruben" userId="3b6ded5a-dd21-40b3-88fa-151fbbcebe89" providerId="ADAL" clId="{E680E597-242C-4D2A-B032-16783446CE66}" dt="2021-12-02T16:30:03.620" v="271"/>
        <pc:sldMkLst>
          <pc:docMk/>
          <pc:sldMk cId="506610106" sldId="449"/>
        </pc:sldMkLst>
        <pc:picChg chg="add mod">
          <ac:chgData name="Sanchis Soriano, Ruben" userId="3b6ded5a-dd21-40b3-88fa-151fbbcebe89" providerId="ADAL" clId="{E680E597-242C-4D2A-B032-16783446CE66}" dt="2021-12-02T16:30:03.620" v="271"/>
          <ac:picMkLst>
            <pc:docMk/>
            <pc:sldMk cId="506610106" sldId="449"/>
            <ac:picMk id="8" creationId="{2200EFBC-E5A4-45AE-BC38-6B11ACCE280A}"/>
          </ac:picMkLst>
        </pc:picChg>
      </pc:sldChg>
      <pc:sldChg chg="addSp modSp">
        <pc:chgData name="Sanchis Soriano, Ruben" userId="3b6ded5a-dd21-40b3-88fa-151fbbcebe89" providerId="ADAL" clId="{E680E597-242C-4D2A-B032-16783446CE66}" dt="2021-12-02T16:30:12.516" v="273"/>
        <pc:sldMkLst>
          <pc:docMk/>
          <pc:sldMk cId="2718425042" sldId="450"/>
        </pc:sldMkLst>
        <pc:picChg chg="add mod">
          <ac:chgData name="Sanchis Soriano, Ruben" userId="3b6ded5a-dd21-40b3-88fa-151fbbcebe89" providerId="ADAL" clId="{E680E597-242C-4D2A-B032-16783446CE66}" dt="2021-12-02T16:30:12.516" v="273"/>
          <ac:picMkLst>
            <pc:docMk/>
            <pc:sldMk cId="2718425042" sldId="450"/>
            <ac:picMk id="32" creationId="{D7AF6DF6-6467-42F1-8513-F91241C1E742}"/>
          </ac:picMkLst>
        </pc:picChg>
      </pc:sldChg>
      <pc:sldChg chg="addSp modSp">
        <pc:chgData name="Sanchis Soriano, Ruben" userId="3b6ded5a-dd21-40b3-88fa-151fbbcebe89" providerId="ADAL" clId="{E680E597-242C-4D2A-B032-16783446CE66}" dt="2021-12-02T16:30:15.114" v="274"/>
        <pc:sldMkLst>
          <pc:docMk/>
          <pc:sldMk cId="2195502828" sldId="451"/>
        </pc:sldMkLst>
        <pc:picChg chg="add mod">
          <ac:chgData name="Sanchis Soriano, Ruben" userId="3b6ded5a-dd21-40b3-88fa-151fbbcebe89" providerId="ADAL" clId="{E680E597-242C-4D2A-B032-16783446CE66}" dt="2021-12-02T16:30:15.114" v="274"/>
          <ac:picMkLst>
            <pc:docMk/>
            <pc:sldMk cId="2195502828" sldId="451"/>
            <ac:picMk id="39" creationId="{382888B3-9996-42E2-BD50-C54BB066915F}"/>
          </ac:picMkLst>
        </pc:picChg>
      </pc:sldChg>
      <pc:sldChg chg="addSp delSp modSp mod chgLayout">
        <pc:chgData name="Sanchis Soriano, Ruben" userId="3b6ded5a-dd21-40b3-88fa-151fbbcebe89" providerId="ADAL" clId="{E680E597-242C-4D2A-B032-16783446CE66}" dt="2021-12-02T16:32:34.080" v="298"/>
        <pc:sldMkLst>
          <pc:docMk/>
          <pc:sldMk cId="3344334156" sldId="452"/>
        </pc:sldMkLst>
        <pc:spChg chg="add mod ord">
          <ac:chgData name="Sanchis Soriano, Ruben" userId="3b6ded5a-dd21-40b3-88fa-151fbbcebe89" providerId="ADAL" clId="{E680E597-242C-4D2A-B032-16783446CE66}" dt="2021-12-02T16:22:59.369" v="30" actId="700"/>
          <ac:spMkLst>
            <pc:docMk/>
            <pc:sldMk cId="3344334156" sldId="452"/>
            <ac:spMk id="2" creationId="{71FB9EFE-69DC-4FF4-927E-A75A7F6A21BA}"/>
          </ac:spMkLst>
        </pc:spChg>
        <pc:spChg chg="del mod">
          <ac:chgData name="Sanchis Soriano, Ruben" userId="3b6ded5a-dd21-40b3-88fa-151fbbcebe89" providerId="ADAL" clId="{E680E597-242C-4D2A-B032-16783446CE66}" dt="2021-12-02T16:22:59.369" v="30" actId="700"/>
          <ac:spMkLst>
            <pc:docMk/>
            <pc:sldMk cId="3344334156" sldId="452"/>
            <ac:spMk id="5" creationId="{00000000-0000-0000-0000-000000000000}"/>
          </ac:spMkLst>
        </pc:spChg>
        <pc:spChg chg="mod ord">
          <ac:chgData name="Sanchis Soriano, Ruben" userId="3b6ded5a-dd21-40b3-88fa-151fbbcebe89" providerId="ADAL" clId="{E680E597-242C-4D2A-B032-16783446CE66}" dt="2021-12-02T16:32:34.080" v="298"/>
          <ac:spMkLst>
            <pc:docMk/>
            <pc:sldMk cId="3344334156" sldId="452"/>
            <ac:spMk id="6" creationId="{00000000-0000-0000-0000-000000000000}"/>
          </ac:spMkLst>
        </pc:spChg>
        <pc:picChg chg="add mod">
          <ac:chgData name="Sanchis Soriano, Ruben" userId="3b6ded5a-dd21-40b3-88fa-151fbbcebe89" providerId="ADAL" clId="{E680E597-242C-4D2A-B032-16783446CE66}" dt="2021-12-02T16:29:06.719" v="252" actId="1076"/>
          <ac:picMkLst>
            <pc:docMk/>
            <pc:sldMk cId="3344334156" sldId="452"/>
            <ac:picMk id="7" creationId="{6A741F43-FD19-43B0-80F6-8E289A62731E}"/>
          </ac:picMkLst>
        </pc:picChg>
        <pc:picChg chg="add del">
          <ac:chgData name="Sanchis Soriano, Ruben" userId="3b6ded5a-dd21-40b3-88fa-151fbbcebe89" providerId="ADAL" clId="{E680E597-242C-4D2A-B032-16783446CE66}" dt="2021-12-02T16:28:49.394" v="250" actId="478"/>
          <ac:picMkLst>
            <pc:docMk/>
            <pc:sldMk cId="3344334156" sldId="452"/>
            <ac:picMk id="138242" creationId="{38EE57BE-97FA-48C5-B8DE-67E14B977F1C}"/>
          </ac:picMkLst>
        </pc:picChg>
      </pc:sldChg>
      <pc:sldChg chg="addSp modSp">
        <pc:chgData name="Sanchis Soriano, Ruben" userId="3b6ded5a-dd21-40b3-88fa-151fbbcebe89" providerId="ADAL" clId="{E680E597-242C-4D2A-B032-16783446CE66}" dt="2021-12-02T16:30:07.658" v="272"/>
        <pc:sldMkLst>
          <pc:docMk/>
          <pc:sldMk cId="4209869301" sldId="453"/>
        </pc:sldMkLst>
        <pc:picChg chg="add mod">
          <ac:chgData name="Sanchis Soriano, Ruben" userId="3b6ded5a-dd21-40b3-88fa-151fbbcebe89" providerId="ADAL" clId="{E680E597-242C-4D2A-B032-16783446CE66}" dt="2021-12-02T16:30:07.658" v="272"/>
          <ac:picMkLst>
            <pc:docMk/>
            <pc:sldMk cId="4209869301" sldId="453"/>
            <ac:picMk id="9" creationId="{87AA4B28-CA81-4EAA-BAA5-612DD7F62676}"/>
          </ac:picMkLst>
        </pc:picChg>
      </pc:sldChg>
      <pc:sldChg chg="addSp modSp">
        <pc:chgData name="Sanchis Soriano, Ruben" userId="3b6ded5a-dd21-40b3-88fa-151fbbcebe89" providerId="ADAL" clId="{E680E597-242C-4D2A-B032-16783446CE66}" dt="2021-12-02T16:29:13.262" v="254"/>
        <pc:sldMkLst>
          <pc:docMk/>
          <pc:sldMk cId="718470197" sldId="454"/>
        </pc:sldMkLst>
        <pc:picChg chg="add mod">
          <ac:chgData name="Sanchis Soriano, Ruben" userId="3b6ded5a-dd21-40b3-88fa-151fbbcebe89" providerId="ADAL" clId="{E680E597-242C-4D2A-B032-16783446CE66}" dt="2021-12-02T16:29:13.262" v="254"/>
          <ac:picMkLst>
            <pc:docMk/>
            <pc:sldMk cId="718470197" sldId="454"/>
            <ac:picMk id="7" creationId="{82FF0426-ADCB-4A3F-90C6-8001ED9730BF}"/>
          </ac:picMkLst>
        </pc:picChg>
      </pc:sldChg>
      <pc:sldChg chg="addSp modSp">
        <pc:chgData name="Sanchis Soriano, Ruben" userId="3b6ded5a-dd21-40b3-88fa-151fbbcebe89" providerId="ADAL" clId="{E680E597-242C-4D2A-B032-16783446CE66}" dt="2021-12-02T16:30:17.272" v="275"/>
        <pc:sldMkLst>
          <pc:docMk/>
          <pc:sldMk cId="725659787" sldId="455"/>
        </pc:sldMkLst>
        <pc:picChg chg="add mod">
          <ac:chgData name="Sanchis Soriano, Ruben" userId="3b6ded5a-dd21-40b3-88fa-151fbbcebe89" providerId="ADAL" clId="{E680E597-242C-4D2A-B032-16783446CE66}" dt="2021-12-02T16:30:17.272" v="275"/>
          <ac:picMkLst>
            <pc:docMk/>
            <pc:sldMk cId="725659787" sldId="455"/>
            <ac:picMk id="9" creationId="{C992A4F0-DA40-4826-9C91-524B74222320}"/>
          </ac:picMkLst>
        </pc:picChg>
      </pc:sldChg>
      <pc:sldChg chg="addSp modSp">
        <pc:chgData name="Sanchis Soriano, Ruben" userId="3b6ded5a-dd21-40b3-88fa-151fbbcebe89" providerId="ADAL" clId="{E680E597-242C-4D2A-B032-16783446CE66}" dt="2021-12-02T16:30:29.063" v="279"/>
        <pc:sldMkLst>
          <pc:docMk/>
          <pc:sldMk cId="713219529" sldId="457"/>
        </pc:sldMkLst>
        <pc:picChg chg="add mod">
          <ac:chgData name="Sanchis Soriano, Ruben" userId="3b6ded5a-dd21-40b3-88fa-151fbbcebe89" providerId="ADAL" clId="{E680E597-242C-4D2A-B032-16783446CE66}" dt="2021-12-02T16:30:29.063" v="279"/>
          <ac:picMkLst>
            <pc:docMk/>
            <pc:sldMk cId="713219529" sldId="457"/>
            <ac:picMk id="9" creationId="{B38E8A97-0DEA-4BD3-A492-744DE4143C90}"/>
          </ac:picMkLst>
        </pc:picChg>
      </pc:sldChg>
      <pc:sldChg chg="addSp modSp">
        <pc:chgData name="Sanchis Soriano, Ruben" userId="3b6ded5a-dd21-40b3-88fa-151fbbcebe89" providerId="ADAL" clId="{E680E597-242C-4D2A-B032-16783446CE66}" dt="2021-12-02T16:29:46.660" v="265"/>
        <pc:sldMkLst>
          <pc:docMk/>
          <pc:sldMk cId="1645303057" sldId="458"/>
        </pc:sldMkLst>
        <pc:picChg chg="add mod">
          <ac:chgData name="Sanchis Soriano, Ruben" userId="3b6ded5a-dd21-40b3-88fa-151fbbcebe89" providerId="ADAL" clId="{E680E597-242C-4D2A-B032-16783446CE66}" dt="2021-12-02T16:29:46.660" v="265"/>
          <ac:picMkLst>
            <pc:docMk/>
            <pc:sldMk cId="1645303057" sldId="458"/>
            <ac:picMk id="88" creationId="{1518626C-0760-4BC8-ABE4-05234F13D72F}"/>
          </ac:picMkLst>
        </pc:picChg>
      </pc:sldChg>
      <pc:sldChg chg="addSp modSp">
        <pc:chgData name="Sanchis Soriano, Ruben" userId="3b6ded5a-dd21-40b3-88fa-151fbbcebe89" providerId="ADAL" clId="{E680E597-242C-4D2A-B032-16783446CE66}" dt="2021-12-02T16:30:31.760" v="280"/>
        <pc:sldMkLst>
          <pc:docMk/>
          <pc:sldMk cId="2725870429" sldId="459"/>
        </pc:sldMkLst>
        <pc:picChg chg="add mod">
          <ac:chgData name="Sanchis Soriano, Ruben" userId="3b6ded5a-dd21-40b3-88fa-151fbbcebe89" providerId="ADAL" clId="{E680E597-242C-4D2A-B032-16783446CE66}" dt="2021-12-02T16:30:31.760" v="280"/>
          <ac:picMkLst>
            <pc:docMk/>
            <pc:sldMk cId="2725870429" sldId="459"/>
            <ac:picMk id="55" creationId="{F83A0B3A-F5DA-435B-A8BE-45966AFC9ED9}"/>
          </ac:picMkLst>
        </pc:picChg>
      </pc:sldChg>
      <pc:sldChg chg="addSp modSp">
        <pc:chgData name="Sanchis Soriano, Ruben" userId="3b6ded5a-dd21-40b3-88fa-151fbbcebe89" providerId="ADAL" clId="{E680E597-242C-4D2A-B032-16783446CE66}" dt="2021-12-02T16:30:00.013" v="270"/>
        <pc:sldMkLst>
          <pc:docMk/>
          <pc:sldMk cId="3102519237" sldId="460"/>
        </pc:sldMkLst>
        <pc:picChg chg="add mod">
          <ac:chgData name="Sanchis Soriano, Ruben" userId="3b6ded5a-dd21-40b3-88fa-151fbbcebe89" providerId="ADAL" clId="{E680E597-242C-4D2A-B032-16783446CE66}" dt="2021-12-02T16:30:00.013" v="270"/>
          <ac:picMkLst>
            <pc:docMk/>
            <pc:sldMk cId="3102519237" sldId="460"/>
            <ac:picMk id="8" creationId="{C7FE6789-6D66-40FF-B7ED-15B47E88C8B0}"/>
          </ac:picMkLst>
        </pc:picChg>
      </pc:sldChg>
      <pc:sldChg chg="addSp modSp">
        <pc:chgData name="Sanchis Soriano, Ruben" userId="3b6ded5a-dd21-40b3-88fa-151fbbcebe89" providerId="ADAL" clId="{E680E597-242C-4D2A-B032-16783446CE66}" dt="2021-12-02T16:30:20.958" v="276"/>
        <pc:sldMkLst>
          <pc:docMk/>
          <pc:sldMk cId="373841271" sldId="461"/>
        </pc:sldMkLst>
        <pc:picChg chg="add mod">
          <ac:chgData name="Sanchis Soriano, Ruben" userId="3b6ded5a-dd21-40b3-88fa-151fbbcebe89" providerId="ADAL" clId="{E680E597-242C-4D2A-B032-16783446CE66}" dt="2021-12-02T16:30:20.958" v="276"/>
          <ac:picMkLst>
            <pc:docMk/>
            <pc:sldMk cId="373841271" sldId="461"/>
            <ac:picMk id="8" creationId="{EA8F9415-5778-4921-9C53-B939E00018F7}"/>
          </ac:picMkLst>
        </pc:picChg>
      </pc:sldChg>
      <pc:sldChg chg="addSp modSp">
        <pc:chgData name="Sanchis Soriano, Ruben" userId="3b6ded5a-dd21-40b3-88fa-151fbbcebe89" providerId="ADAL" clId="{E680E597-242C-4D2A-B032-16783446CE66}" dt="2021-12-02T16:30:24.139" v="277"/>
        <pc:sldMkLst>
          <pc:docMk/>
          <pc:sldMk cId="1621741441" sldId="462"/>
        </pc:sldMkLst>
        <pc:picChg chg="add mod">
          <ac:chgData name="Sanchis Soriano, Ruben" userId="3b6ded5a-dd21-40b3-88fa-151fbbcebe89" providerId="ADAL" clId="{E680E597-242C-4D2A-B032-16783446CE66}" dt="2021-12-02T16:30:24.139" v="277"/>
          <ac:picMkLst>
            <pc:docMk/>
            <pc:sldMk cId="1621741441" sldId="462"/>
            <ac:picMk id="5" creationId="{3E5A5C82-7C66-4113-B7D9-EEDCE3EF7F6B}"/>
          </ac:picMkLst>
        </pc:picChg>
      </pc:sldChg>
      <pc:sldChg chg="addSp modSp">
        <pc:chgData name="Sanchis Soriano, Ruben" userId="3b6ded5a-dd21-40b3-88fa-151fbbcebe89" providerId="ADAL" clId="{E680E597-242C-4D2A-B032-16783446CE66}" dt="2021-12-02T16:30:26.712" v="278"/>
        <pc:sldMkLst>
          <pc:docMk/>
          <pc:sldMk cId="1444296422" sldId="463"/>
        </pc:sldMkLst>
        <pc:picChg chg="add mod">
          <ac:chgData name="Sanchis Soriano, Ruben" userId="3b6ded5a-dd21-40b3-88fa-151fbbcebe89" providerId="ADAL" clId="{E680E597-242C-4D2A-B032-16783446CE66}" dt="2021-12-02T16:30:26.712" v="278"/>
          <ac:picMkLst>
            <pc:docMk/>
            <pc:sldMk cId="1444296422" sldId="463"/>
            <ac:picMk id="6" creationId="{B02036A5-8221-46CD-B106-57177C6EA41B}"/>
          </ac:picMkLst>
        </pc:picChg>
      </pc:sldChg>
      <pc:sldChg chg="addSp modSp">
        <pc:chgData name="Sanchis Soriano, Ruben" userId="3b6ded5a-dd21-40b3-88fa-151fbbcebe89" providerId="ADAL" clId="{E680E597-242C-4D2A-B032-16783446CE66}" dt="2021-12-02T16:30:34.229" v="281"/>
        <pc:sldMkLst>
          <pc:docMk/>
          <pc:sldMk cId="1393701604" sldId="464"/>
        </pc:sldMkLst>
        <pc:picChg chg="add mod">
          <ac:chgData name="Sanchis Soriano, Ruben" userId="3b6ded5a-dd21-40b3-88fa-151fbbcebe89" providerId="ADAL" clId="{E680E597-242C-4D2A-B032-16783446CE66}" dt="2021-12-02T16:30:34.229" v="281"/>
          <ac:picMkLst>
            <pc:docMk/>
            <pc:sldMk cId="1393701604" sldId="464"/>
            <ac:picMk id="8" creationId="{B0E43A96-AC9A-44ED-A729-CC54E83C36CD}"/>
          </ac:picMkLst>
        </pc:picChg>
      </pc:sldChg>
      <pc:sldChg chg="addSp modSp">
        <pc:chgData name="Sanchis Soriano, Ruben" userId="3b6ded5a-dd21-40b3-88fa-151fbbcebe89" providerId="ADAL" clId="{E680E597-242C-4D2A-B032-16783446CE66}" dt="2021-12-02T16:30:36.778" v="282"/>
        <pc:sldMkLst>
          <pc:docMk/>
          <pc:sldMk cId="3779851562" sldId="465"/>
        </pc:sldMkLst>
        <pc:picChg chg="add mod">
          <ac:chgData name="Sanchis Soriano, Ruben" userId="3b6ded5a-dd21-40b3-88fa-151fbbcebe89" providerId="ADAL" clId="{E680E597-242C-4D2A-B032-16783446CE66}" dt="2021-12-02T16:30:36.778" v="282"/>
          <ac:picMkLst>
            <pc:docMk/>
            <pc:sldMk cId="3779851562" sldId="465"/>
            <ac:picMk id="12" creationId="{033C79E7-66AE-4C4E-81A8-A15C646BD631}"/>
          </ac:picMkLst>
        </pc:picChg>
      </pc:sldChg>
      <pc:sldChg chg="addSp modSp">
        <pc:chgData name="Sanchis Soriano, Ruben" userId="3b6ded5a-dd21-40b3-88fa-151fbbcebe89" providerId="ADAL" clId="{E680E597-242C-4D2A-B032-16783446CE66}" dt="2021-12-02T16:30:39.037" v="283"/>
        <pc:sldMkLst>
          <pc:docMk/>
          <pc:sldMk cId="2583777913" sldId="466"/>
        </pc:sldMkLst>
        <pc:picChg chg="add mod">
          <ac:chgData name="Sanchis Soriano, Ruben" userId="3b6ded5a-dd21-40b3-88fa-151fbbcebe89" providerId="ADAL" clId="{E680E597-242C-4D2A-B032-16783446CE66}" dt="2021-12-02T16:30:39.037" v="283"/>
          <ac:picMkLst>
            <pc:docMk/>
            <pc:sldMk cId="2583777913" sldId="466"/>
            <ac:picMk id="7" creationId="{B0F30C5F-FF36-435D-B70C-FB9F49FA94A6}"/>
          </ac:picMkLst>
        </pc:picChg>
      </pc:sldChg>
      <pc:sldMasterChg chg="modSldLayout">
        <pc:chgData name="Sanchis Soriano, Ruben" userId="3b6ded5a-dd21-40b3-88fa-151fbbcebe89" providerId="ADAL" clId="{E680E597-242C-4D2A-B032-16783446CE66}" dt="2021-12-02T16:24:01.780" v="103" actId="14100"/>
        <pc:sldMasterMkLst>
          <pc:docMk/>
          <pc:sldMasterMk cId="1219859992" sldId="2147483648"/>
        </pc:sldMasterMkLst>
        <pc:sldLayoutChg chg="modSp mod">
          <pc:chgData name="Sanchis Soriano, Ruben" userId="3b6ded5a-dd21-40b3-88fa-151fbbcebe89" providerId="ADAL" clId="{E680E597-242C-4D2A-B032-16783446CE66}" dt="2021-12-02T16:24:01.780" v="103" actId="14100"/>
          <pc:sldLayoutMkLst>
            <pc:docMk/>
            <pc:sldMasterMk cId="1219859992" sldId="2147483648"/>
            <pc:sldLayoutMk cId="2180750389" sldId="2147483681"/>
          </pc:sldLayoutMkLst>
          <pc:spChg chg="mod">
            <ac:chgData name="Sanchis Soriano, Ruben" userId="3b6ded5a-dd21-40b3-88fa-151fbbcebe89" providerId="ADAL" clId="{E680E597-242C-4D2A-B032-16783446CE66}" dt="2021-12-02T16:24:01.780" v="103" actId="14100"/>
            <ac:spMkLst>
              <pc:docMk/>
              <pc:sldMasterMk cId="1219859992" sldId="2147483648"/>
              <pc:sldLayoutMk cId="2180750389" sldId="2147483681"/>
              <ac:spMk id="3" creationId="{97DBE4AE-E329-4A81-A37F-04E2E1F0C9D9}"/>
            </ac:spMkLst>
          </pc:spChg>
        </pc:sldLayoutChg>
      </pc:sldMaster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tags" Target="../tags/tag74.xml"/><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de-DE" dirty="0"/>
              <a:t>Header</a:t>
            </a:r>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r>
              <a:rPr lang="en-GB" dirty="0"/>
              <a:t>06/12/2016</a:t>
            </a:r>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de-DE" dirty="0" err="1"/>
              <a:t>Footer</a:t>
            </a:r>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928F7E6-B01D-4411-A16D-8FD4ACE6345E}" type="slidenum">
              <a:rPr lang="de-DE" smtClean="0"/>
              <a:t>‹#›</a:t>
            </a:fld>
            <a:endParaRPr lang="de-DE"/>
          </a:p>
        </p:txBody>
      </p:sp>
    </p:spTree>
    <p:custDataLst>
      <p:tags r:id="rId2"/>
    </p:custDataLst>
    <p:extLst>
      <p:ext uri="{BB962C8B-B14F-4D97-AF65-F5344CB8AC3E}">
        <p14:creationId xmlns:p14="http://schemas.microsoft.com/office/powerpoint/2010/main" val="39689189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GB" dirty="0"/>
              <a:t>Header</a:t>
            </a:r>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404DC9-95FE-4B10-9E99-CB2E445B4BE9}" type="datetimeFigureOut">
              <a:rPr lang="en-GB" smtClean="0"/>
              <a:t>02/12/2021</a:t>
            </a:fld>
            <a:endParaRPr lang="en-GB"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schemeClr val="accent5"/>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381000" y="4343400"/>
            <a:ext cx="6096000" cy="4103370"/>
          </a:xfrm>
          <a:prstGeom prst="rect">
            <a:avLst/>
          </a:prstGeom>
        </p:spPr>
        <p:txBody>
          <a:bodyPr vert="horz" lIns="0" tIns="0" rIns="0" bIns="0" rtlCol="0">
            <a:noAutofit/>
          </a:bodyPr>
          <a:lstStyle/>
          <a:p>
            <a:pPr lvl="0"/>
            <a:r>
              <a:rPr lang="en-GB" dirty="0" err="1"/>
              <a:t>Textmasterformat</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GB" dirty="0"/>
              <a:t>Footer</a:t>
            </a:r>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C8C50E0-3D2F-4919-A698-86375444C62D}" type="slidenum">
              <a:rPr lang="en-GB" smtClean="0"/>
              <a:t>‹#›</a:t>
            </a:fld>
            <a:endParaRPr lang="en-GB" dirty="0"/>
          </a:p>
        </p:txBody>
      </p:sp>
    </p:spTree>
    <p:extLst>
      <p:ext uri="{BB962C8B-B14F-4D97-AF65-F5344CB8AC3E}">
        <p14:creationId xmlns:p14="http://schemas.microsoft.com/office/powerpoint/2010/main" val="3328928747"/>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1pPr>
    <a:lvl2pPr marL="358775" indent="-17621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2pPr>
    <a:lvl3pPr marL="541338" indent="-18256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3pPr>
    <a:lvl4pPr marL="715963" indent="-174625"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4pPr>
    <a:lvl5pPr marL="898525" indent="-18256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200" dirty="0"/>
              <a:t>Distributed file system for commit log</a:t>
            </a:r>
          </a:p>
          <a:p>
            <a:r>
              <a:rPr lang="en-GB" sz="1200" b="1" dirty="0"/>
              <a:t>Features</a:t>
            </a:r>
          </a:p>
          <a:p>
            <a:pPr marL="331325" lvl="1" indent="-144000">
              <a:spcBef>
                <a:spcPts val="300"/>
              </a:spcBef>
              <a:spcAft>
                <a:spcPts val="300"/>
              </a:spcAft>
              <a:buFont typeface="Wingdings" panose="05000000000000000000" pitchFamily="2" charset="2"/>
              <a:buChar char="§"/>
            </a:pPr>
            <a:r>
              <a:rPr lang="en-GB" sz="1200" dirty="0">
                <a:solidFill>
                  <a:prstClr val="white"/>
                </a:solidFill>
              </a:rPr>
              <a:t>Fast - Low-latency</a:t>
            </a:r>
          </a:p>
          <a:p>
            <a:pPr marL="331325" lvl="1" indent="-144000">
              <a:spcBef>
                <a:spcPts val="300"/>
              </a:spcBef>
              <a:spcAft>
                <a:spcPts val="300"/>
              </a:spcAft>
              <a:buFont typeface="Wingdings" panose="05000000000000000000" pitchFamily="2" charset="2"/>
              <a:buChar char="§"/>
            </a:pPr>
            <a:r>
              <a:rPr lang="en-GB" sz="1200" dirty="0">
                <a:solidFill>
                  <a:prstClr val="white"/>
                </a:solidFill>
              </a:rPr>
              <a:t>Scalable</a:t>
            </a:r>
          </a:p>
          <a:p>
            <a:pPr marL="331325" lvl="1" indent="-144000">
              <a:spcBef>
                <a:spcPts val="300"/>
              </a:spcBef>
              <a:spcAft>
                <a:spcPts val="300"/>
              </a:spcAft>
              <a:buFont typeface="Wingdings" panose="05000000000000000000" pitchFamily="2" charset="2"/>
              <a:buChar char="§"/>
            </a:pPr>
            <a:r>
              <a:rPr lang="en-GB" sz="1200" dirty="0">
                <a:solidFill>
                  <a:prstClr val="white"/>
                </a:solidFill>
              </a:rPr>
              <a:t>Durable</a:t>
            </a:r>
          </a:p>
          <a:p>
            <a:pPr marL="331325" lvl="1" indent="-144000">
              <a:spcBef>
                <a:spcPts val="300"/>
              </a:spcBef>
              <a:spcAft>
                <a:spcPts val="300"/>
              </a:spcAft>
              <a:buFont typeface="Wingdings" panose="05000000000000000000" pitchFamily="2" charset="2"/>
              <a:buChar char="§"/>
            </a:pPr>
            <a:r>
              <a:rPr lang="en-GB" sz="1200" dirty="0">
                <a:solidFill>
                  <a:prstClr val="white"/>
                </a:solidFill>
              </a:rPr>
              <a:t>Fault-tolerant</a:t>
            </a:r>
          </a:p>
          <a:p>
            <a:pPr marL="331325" lvl="1" indent="-144000">
              <a:spcBef>
                <a:spcPts val="300"/>
              </a:spcBef>
              <a:spcAft>
                <a:spcPts val="300"/>
              </a:spcAft>
              <a:buFont typeface="Wingdings" panose="05000000000000000000" pitchFamily="2" charset="2"/>
              <a:buChar char="§"/>
            </a:pPr>
            <a:r>
              <a:rPr lang="en-GB" sz="1200" dirty="0">
                <a:solidFill>
                  <a:prstClr val="white"/>
                </a:solidFill>
              </a:rPr>
              <a:t>Reliable</a:t>
            </a:r>
          </a:p>
          <a:p>
            <a:pPr marL="331325" lvl="1" indent="-144000">
              <a:spcBef>
                <a:spcPts val="300"/>
              </a:spcBef>
              <a:spcAft>
                <a:spcPts val="300"/>
              </a:spcAft>
              <a:buFont typeface="Wingdings" panose="05000000000000000000" pitchFamily="2" charset="2"/>
              <a:buChar char="§"/>
            </a:pPr>
            <a:r>
              <a:rPr lang="en-GB" sz="1200" dirty="0">
                <a:solidFill>
                  <a:prstClr val="white"/>
                </a:solidFill>
              </a:rPr>
              <a:t>Replication</a:t>
            </a:r>
          </a:p>
          <a:p>
            <a:endParaRPr lang="en-US" dirty="0"/>
          </a:p>
        </p:txBody>
      </p:sp>
      <p:sp>
        <p:nvSpPr>
          <p:cNvPr id="4" name="Slide Number Placeholder 3"/>
          <p:cNvSpPr>
            <a:spLocks noGrp="1"/>
          </p:cNvSpPr>
          <p:nvPr>
            <p:ph type="sldNum" sz="quarter" idx="10"/>
          </p:nvPr>
        </p:nvSpPr>
        <p:spPr/>
        <p:txBody>
          <a:bodyPr/>
          <a:lstStyle/>
          <a:p>
            <a:fld id="{AC8C50E0-3D2F-4919-A698-86375444C62D}" type="slidenum">
              <a:rPr lang="en-GB" smtClean="0"/>
              <a:t>6</a:t>
            </a:fld>
            <a:endParaRPr lang="en-GB" dirty="0"/>
          </a:p>
        </p:txBody>
      </p:sp>
    </p:spTree>
    <p:extLst>
      <p:ext uri="{BB962C8B-B14F-4D97-AF65-F5344CB8AC3E}">
        <p14:creationId xmlns:p14="http://schemas.microsoft.com/office/powerpoint/2010/main" val="1015292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Kafka messages are persisted on the disk and replicated within the cluster to prevent data loss. </a:t>
            </a:r>
          </a:p>
          <a:p>
            <a:r>
              <a:rPr lang="en-US" sz="1200" b="0" i="0" kern="1200" dirty="0">
                <a:solidFill>
                  <a:schemeClr val="tx1"/>
                </a:solidFill>
                <a:effectLst/>
                <a:latin typeface="+mn-lt"/>
                <a:ea typeface="+mn-ea"/>
                <a:cs typeface="+mn-cs"/>
              </a:rPr>
              <a:t>Kafka is built on top of the </a:t>
            </a:r>
            <a:r>
              <a:rPr lang="en-US" sz="1200" b="0" i="0" kern="1200" dirty="0" err="1">
                <a:solidFill>
                  <a:schemeClr val="tx1"/>
                </a:solidFill>
                <a:effectLst/>
                <a:latin typeface="+mn-lt"/>
                <a:ea typeface="+mn-ea"/>
                <a:cs typeface="+mn-cs"/>
              </a:rPr>
              <a:t>ZooKeeper</a:t>
            </a:r>
            <a:r>
              <a:rPr lang="en-US" sz="1200" b="0" i="0" kern="1200" dirty="0">
                <a:solidFill>
                  <a:schemeClr val="tx1"/>
                </a:solidFill>
                <a:effectLst/>
                <a:latin typeface="+mn-lt"/>
                <a:ea typeface="+mn-ea"/>
                <a:cs typeface="+mn-cs"/>
              </a:rPr>
              <a:t> synchronization service.</a:t>
            </a:r>
          </a:p>
          <a:p>
            <a:r>
              <a:rPr lang="en-US" sz="1200" b="0" i="0" kern="1200" dirty="0">
                <a:solidFill>
                  <a:schemeClr val="tx1"/>
                </a:solidFill>
                <a:effectLst/>
                <a:latin typeface="+mn-lt"/>
                <a:ea typeface="+mn-ea"/>
                <a:cs typeface="+mn-cs"/>
              </a:rPr>
              <a:t>Brokers are simple system responsible for maintaining the published data. Each broker may have zero or more partitions per topic. Assume, if there are N partitions in a topic and N number of brokers, each broker will have one partition.</a:t>
            </a:r>
          </a:p>
          <a:p>
            <a:r>
              <a:rPr lang="en-US" sz="1200" b="0" i="0" kern="1200" dirty="0">
                <a:solidFill>
                  <a:schemeClr val="tx1"/>
                </a:solidFill>
                <a:effectLst/>
                <a:latin typeface="+mn-lt"/>
                <a:ea typeface="+mn-ea"/>
                <a:cs typeface="+mn-cs"/>
              </a:rPr>
              <a:t>Assume if there are N partitions in a topic and more than N brokers (n + m), the first N broker will have one partition and the next M broker will not have any partition for that particular topic.</a:t>
            </a:r>
          </a:p>
          <a:p>
            <a:r>
              <a:rPr lang="en-US" sz="1200" b="0" i="0" kern="1200" dirty="0">
                <a:solidFill>
                  <a:schemeClr val="tx1"/>
                </a:solidFill>
                <a:effectLst/>
                <a:latin typeface="+mn-lt"/>
                <a:ea typeface="+mn-ea"/>
                <a:cs typeface="+mn-cs"/>
              </a:rPr>
              <a:t>Assume if there are N partitions in a topic and less than N brokers (n-m), each broker will have one or more partition sharing among them. This scenario is not recommended due to unequal load distribution among the broker.</a:t>
            </a:r>
          </a:p>
          <a:p>
            <a:r>
              <a:rPr lang="en-GB" noProof="0" dirty="0"/>
              <a:t>What’s the cluster state? what it</a:t>
            </a:r>
            <a:r>
              <a:rPr lang="en-GB" baseline="0" noProof="0" dirty="0"/>
              <a:t> is stored in Zookeeper?</a:t>
            </a:r>
          </a:p>
          <a:p>
            <a:pPr lvl="1"/>
            <a:r>
              <a:rPr lang="en-GB" baseline="0" noProof="0" dirty="0"/>
              <a:t>Alive brokers</a:t>
            </a:r>
          </a:p>
          <a:p>
            <a:pPr lvl="1"/>
            <a:r>
              <a:rPr lang="en-GB" baseline="0" noProof="0" dirty="0"/>
              <a:t>Existing topics and replicas</a:t>
            </a:r>
          </a:p>
          <a:p>
            <a:pPr lvl="2"/>
            <a:r>
              <a:rPr lang="en-GB" baseline="0" noProof="0" dirty="0"/>
              <a:t>Leader replicas and follower replicas</a:t>
            </a:r>
          </a:p>
          <a:p>
            <a:pPr lvl="2"/>
            <a:r>
              <a:rPr lang="en-GB" baseline="0" noProof="0" dirty="0"/>
              <a:t>In-sync replicas</a:t>
            </a:r>
          </a:p>
          <a:p>
            <a:pPr lvl="1"/>
            <a:r>
              <a:rPr lang="en-GB" baseline="0" noProof="0" dirty="0"/>
              <a:t>Consumer-groups</a:t>
            </a:r>
          </a:p>
          <a:p>
            <a:pPr lvl="1"/>
            <a:r>
              <a:rPr lang="en-GB" baseline="0" noProof="0" dirty="0"/>
              <a:t>…</a:t>
            </a:r>
            <a:endParaRPr lang="en-GB" noProof="0" dirty="0"/>
          </a:p>
          <a:p>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AC8C50E0-3D2F-4919-A698-86375444C62D}" type="slidenum">
              <a:rPr lang="en-GB" smtClean="0"/>
              <a:t>8</a:t>
            </a:fld>
            <a:endParaRPr lang="en-GB" dirty="0"/>
          </a:p>
        </p:txBody>
      </p:sp>
    </p:spTree>
    <p:extLst>
      <p:ext uri="{BB962C8B-B14F-4D97-AF65-F5344CB8AC3E}">
        <p14:creationId xmlns:p14="http://schemas.microsoft.com/office/powerpoint/2010/main" val="31250753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AC8C50E0-3D2F-4919-A698-86375444C62D}" type="slidenum">
              <a:rPr lang="en-GB" smtClean="0"/>
              <a:t>9</a:t>
            </a:fld>
            <a:endParaRPr lang="en-GB" dirty="0"/>
          </a:p>
        </p:txBody>
      </p:sp>
    </p:spTree>
    <p:extLst>
      <p:ext uri="{BB962C8B-B14F-4D97-AF65-F5344CB8AC3E}">
        <p14:creationId xmlns:p14="http://schemas.microsoft.com/office/powerpoint/2010/main" val="32689567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sz="1200" b="1" dirty="0">
                <a:solidFill>
                  <a:schemeClr val="accent1"/>
                </a:solidFill>
              </a:rPr>
              <a:t>At least once</a:t>
            </a:r>
            <a:r>
              <a:rPr lang="en-US" sz="1200" dirty="0"/>
              <a:t>: if the producer receives an acknowledgement (ack) from the Kafka broker and acks=all, it means that the message has been written exactly once to the Kafka topic. However, if a producer ack times out or receives an error, it might retry sending the message assuming that the message was not written to the Kafka topic. If the broker had failed right before it sent the ack but after the message was successfully written to the Kafka topic, this retry leads to the message being written twice and hence delivered more than once to the end consumer. And everybody loves a cheerful giver, but this approach can lead to duplicated work and incorrect results.</a:t>
            </a:r>
          </a:p>
          <a:p>
            <a:pPr marL="285750" indent="-285750">
              <a:buFont typeface="Arial" panose="020B0604020202020204" pitchFamily="34" charset="0"/>
              <a:buChar char="•"/>
            </a:pPr>
            <a:r>
              <a:rPr lang="en-US" sz="1200" b="1" dirty="0">
                <a:solidFill>
                  <a:schemeClr val="accent1"/>
                </a:solidFill>
              </a:rPr>
              <a:t>At most once </a:t>
            </a:r>
            <a:r>
              <a:rPr lang="en-US" sz="1200" dirty="0"/>
              <a:t>semantics: if the producer does not retry when an ack times out or returns an error, then the message might end up not being written to the Kafka topic, and hence not delivered to the consumer. In most cases it will be, but in order to avoid the possibility of duplication, we accept that sometimes messages will not get through.</a:t>
            </a:r>
          </a:p>
          <a:p>
            <a:pPr marL="285750" indent="-285750">
              <a:buFont typeface="Arial" panose="020B0604020202020204" pitchFamily="34" charset="0"/>
              <a:buChar char="•"/>
            </a:pPr>
            <a:r>
              <a:rPr lang="en-US" sz="1200" b="1" dirty="0">
                <a:solidFill>
                  <a:schemeClr val="accent1"/>
                </a:solidFill>
              </a:rPr>
              <a:t>Exactly once semantics</a:t>
            </a:r>
            <a:r>
              <a:rPr lang="en-US" sz="1200" dirty="0"/>
              <a:t>: even if a producer retries sending a message, it leads to the message being delivered exactly once to the end consumer. Exactly-once semantics is the most desirable guarantee, but also a poorly understood one. This is because it requires a cooperation between the messaging system itself and the application producing and consuming the messages. For instance, if after consuming a message successfully you rewind your Kafka consumer to a previous offset, you will receive all the messages from that offset to the latest one, all over again. This shows why the messaging system and the client application must cooperate to make exactly-once semantics happen.</a:t>
            </a:r>
          </a:p>
          <a:p>
            <a:endParaRPr lang="en-US" dirty="0"/>
          </a:p>
        </p:txBody>
      </p:sp>
      <p:sp>
        <p:nvSpPr>
          <p:cNvPr id="4" name="Slide Number Placeholder 3"/>
          <p:cNvSpPr>
            <a:spLocks noGrp="1"/>
          </p:cNvSpPr>
          <p:nvPr>
            <p:ph type="sldNum" sz="quarter" idx="5"/>
          </p:nvPr>
        </p:nvSpPr>
        <p:spPr/>
        <p:txBody>
          <a:bodyPr/>
          <a:lstStyle/>
          <a:p>
            <a:fld id="{AC8C50E0-3D2F-4919-A698-86375444C62D}" type="slidenum">
              <a:rPr lang="en-GB" smtClean="0"/>
              <a:t>15</a:t>
            </a:fld>
            <a:endParaRPr lang="en-GB" dirty="0"/>
          </a:p>
        </p:txBody>
      </p:sp>
    </p:spTree>
    <p:extLst>
      <p:ext uri="{BB962C8B-B14F-4D97-AF65-F5344CB8AC3E}">
        <p14:creationId xmlns:p14="http://schemas.microsoft.com/office/powerpoint/2010/main" val="27777586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C8C50E0-3D2F-4919-A698-86375444C62D}" type="slidenum">
              <a:rPr lang="en-GB" smtClean="0"/>
              <a:t>26</a:t>
            </a:fld>
            <a:endParaRPr lang="en-GB" dirty="0"/>
          </a:p>
        </p:txBody>
      </p:sp>
    </p:spTree>
    <p:extLst>
      <p:ext uri="{BB962C8B-B14F-4D97-AF65-F5344CB8AC3E}">
        <p14:creationId xmlns:p14="http://schemas.microsoft.com/office/powerpoint/2010/main" val="11259483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a:t>GFT </a:t>
            </a:r>
            <a:r>
              <a:rPr lang="en-GB" dirty="0" err="1"/>
              <a:t>Brasil</a:t>
            </a:r>
            <a:r>
              <a:rPr lang="en-GB" dirty="0"/>
              <a:t> </a:t>
            </a:r>
            <a:r>
              <a:rPr lang="en-GB" dirty="0" err="1"/>
              <a:t>Consultoria</a:t>
            </a:r>
            <a:r>
              <a:rPr lang="en-GB" dirty="0"/>
              <a:t> </a:t>
            </a:r>
            <a:r>
              <a:rPr lang="en-GB" dirty="0" err="1"/>
              <a:t>Informática</a:t>
            </a:r>
            <a:r>
              <a:rPr lang="en-GB" dirty="0"/>
              <a:t> Ltda.</a:t>
            </a:r>
          </a:p>
          <a:p>
            <a:r>
              <a:rPr lang="en-GB" dirty="0"/>
              <a:t>GFT Canada Inc.</a:t>
            </a:r>
          </a:p>
          <a:p>
            <a:r>
              <a:rPr lang="en-GB" dirty="0"/>
              <a:t>GFT Costa Rica S.A.</a:t>
            </a:r>
          </a:p>
          <a:p>
            <a:r>
              <a:rPr lang="en-GB" dirty="0"/>
              <a:t>GFT Experts GmbH</a:t>
            </a:r>
          </a:p>
          <a:p>
            <a:r>
              <a:rPr lang="en-GB" dirty="0"/>
              <a:t>GFT Financial Limited</a:t>
            </a:r>
          </a:p>
          <a:p>
            <a:r>
              <a:rPr lang="en-GB" dirty="0"/>
              <a:t>GFT France S.A.S.</a:t>
            </a:r>
          </a:p>
          <a:p>
            <a:r>
              <a:rPr lang="en-GB" dirty="0"/>
              <a:t>GFT Holding Italy </a:t>
            </a:r>
            <a:r>
              <a:rPr lang="en-GB" dirty="0" err="1"/>
              <a:t>S.r.l</a:t>
            </a:r>
            <a:r>
              <a:rPr lang="en-GB" dirty="0"/>
              <a:t>.</a:t>
            </a:r>
          </a:p>
          <a:p>
            <a:r>
              <a:rPr lang="en-GB" dirty="0"/>
              <a:t>GFT IT </a:t>
            </a:r>
            <a:r>
              <a:rPr lang="en-GB"/>
              <a:t>Consulting S.L.U.</a:t>
            </a:r>
            <a:endParaRPr lang="en-GB" dirty="0"/>
          </a:p>
          <a:p>
            <a:r>
              <a:rPr lang="en-GB" dirty="0"/>
              <a:t>GFT Italia </a:t>
            </a:r>
            <a:r>
              <a:rPr lang="en-GB" dirty="0" err="1"/>
              <a:t>S.r.l</a:t>
            </a:r>
            <a:r>
              <a:rPr lang="en-GB" dirty="0"/>
              <a:t>.</a:t>
            </a:r>
          </a:p>
          <a:p>
            <a:r>
              <a:rPr lang="en-GB" dirty="0"/>
              <a:t>GFT México S.A. de C.V.</a:t>
            </a:r>
          </a:p>
          <a:p>
            <a:r>
              <a:rPr lang="en-GB" dirty="0"/>
              <a:t>GFT Poland Sp. z </a:t>
            </a:r>
            <a:r>
              <a:rPr lang="en-GB" dirty="0" err="1"/>
              <a:t>o.o</a:t>
            </a:r>
            <a:r>
              <a:rPr lang="en-GB" dirty="0"/>
              <a:t>.</a:t>
            </a:r>
          </a:p>
          <a:p>
            <a:r>
              <a:rPr lang="en-GB" dirty="0"/>
              <a:t>GFT Real Estate GmbH</a:t>
            </a:r>
          </a:p>
          <a:p>
            <a:r>
              <a:rPr lang="en-GB" dirty="0"/>
              <a:t>GFT </a:t>
            </a:r>
            <a:r>
              <a:rPr lang="en-GB" dirty="0" err="1"/>
              <a:t>Schweiz</a:t>
            </a:r>
            <a:r>
              <a:rPr lang="en-GB" dirty="0"/>
              <a:t> AG</a:t>
            </a:r>
          </a:p>
          <a:p>
            <a:r>
              <a:rPr lang="en-GB" dirty="0"/>
              <a:t>GFT Smart Technology Solutions GmbH</a:t>
            </a:r>
          </a:p>
          <a:p>
            <a:r>
              <a:rPr lang="en-GB" dirty="0"/>
              <a:t>GFT Technologies </a:t>
            </a:r>
            <a:r>
              <a:rPr lang="en-GB" dirty="0" err="1"/>
              <a:t>Belgique</a:t>
            </a:r>
            <a:r>
              <a:rPr lang="en-GB" dirty="0"/>
              <a:t> S.A.</a:t>
            </a:r>
          </a:p>
          <a:p>
            <a:r>
              <a:rPr lang="en-GB" dirty="0"/>
              <a:t>GFT Technologies Canada Inc.</a:t>
            </a:r>
          </a:p>
          <a:p>
            <a:r>
              <a:rPr lang="en-GB" dirty="0"/>
              <a:t>GFT Technologies S.A.U.</a:t>
            </a:r>
          </a:p>
          <a:p>
            <a:r>
              <a:rPr lang="en-GB" dirty="0"/>
              <a:t>GFT Technologies SE</a:t>
            </a:r>
          </a:p>
          <a:p>
            <a:r>
              <a:rPr lang="en-GB" dirty="0"/>
              <a:t>GFT Technologies Toronto Inc.</a:t>
            </a:r>
          </a:p>
          <a:p>
            <a:r>
              <a:rPr lang="en-GB" dirty="0"/>
              <a:t>GFT UK Limited</a:t>
            </a:r>
          </a:p>
          <a:p>
            <a:r>
              <a:rPr lang="en-GB" dirty="0"/>
              <a:t>GFT USA Inc.</a:t>
            </a:r>
          </a:p>
          <a:p>
            <a:r>
              <a:rPr lang="en-GB" dirty="0"/>
              <a:t>GFT </a:t>
            </a:r>
            <a:r>
              <a:rPr lang="en-GB" dirty="0" err="1"/>
              <a:t>Appverse</a:t>
            </a:r>
            <a:r>
              <a:rPr lang="en-GB" dirty="0"/>
              <a:t>, S.L.U.</a:t>
            </a:r>
          </a:p>
        </p:txBody>
      </p:sp>
      <p:sp>
        <p:nvSpPr>
          <p:cNvPr id="4" name="Foliennummernplatzhalter 3"/>
          <p:cNvSpPr>
            <a:spLocks noGrp="1"/>
          </p:cNvSpPr>
          <p:nvPr>
            <p:ph type="sldNum" sz="quarter" idx="10"/>
          </p:nvPr>
        </p:nvSpPr>
        <p:spPr/>
        <p:txBody>
          <a:bodyPr/>
          <a:lstStyle/>
          <a:p>
            <a:fld id="{AC8C50E0-3D2F-4919-A698-86375444C62D}" type="slidenum">
              <a:rPr lang="en-GB" smtClean="0"/>
              <a:t>34</a:t>
            </a:fld>
            <a:endParaRPr lang="en-GB" dirty="0"/>
          </a:p>
        </p:txBody>
      </p:sp>
    </p:spTree>
    <p:extLst>
      <p:ext uri="{BB962C8B-B14F-4D97-AF65-F5344CB8AC3E}">
        <p14:creationId xmlns:p14="http://schemas.microsoft.com/office/powerpoint/2010/main" val="4237102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jp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6.png"/><Relationship Id="rId5" Type="http://schemas.openxmlformats.org/officeDocument/2006/relationships/image" Target="../media/image1.emf"/><Relationship Id="rId10" Type="http://schemas.openxmlformats.org/officeDocument/2006/relationships/image" Target="../media/image10.svg"/><Relationship Id="rId4" Type="http://schemas.openxmlformats.org/officeDocument/2006/relationships/oleObject" Target="../embeddings/oleObject13.bin"/><Relationship Id="rId9" Type="http://schemas.openxmlformats.org/officeDocument/2006/relationships/image" Target="../media/image9.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40315433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13" name="Objek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16183F5-B8A3-4FCC-8DC3-2ECF9C869ED5}"/>
              </a:ext>
            </a:extLst>
          </p:cNvPr>
          <p:cNvSpPr/>
          <p:nvPr userDrawn="1">
            <p:custDataLst>
              <p:tags r:id="rId3"/>
            </p:custDataLst>
          </p:nvPr>
        </p:nvSpPr>
        <p:spPr>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4400" b="1" i="0" baseline="0" dirty="0">
              <a:solidFill>
                <a:schemeClr val="tx1"/>
              </a:solidFill>
              <a:latin typeface="Arial" panose="020B0604020202020204" pitchFamily="34" charset="0"/>
              <a:ea typeface="Geneva"/>
              <a:cs typeface="+mj-cs"/>
              <a:sym typeface="Arial" panose="020B0604020202020204" pitchFamily="34" charset="0"/>
            </a:endParaRPr>
          </a:p>
        </p:txBody>
      </p:sp>
      <p:pic>
        <p:nvPicPr>
          <p:cNvPr id="18" name="Picture 96"/>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88912" y="441325"/>
            <a:ext cx="8772526" cy="4519613"/>
          </a:xfrm>
          <a:prstGeom prst="rect">
            <a:avLst/>
          </a:prstGeom>
          <a:noFill/>
          <a:extLst>
            <a:ext uri="{909E8E84-426E-40DD-AFC4-6F175D3DCCD1}">
              <a14:hiddenFill xmlns:a14="http://schemas.microsoft.com/office/drawing/2010/main">
                <a:solidFill>
                  <a:srgbClr val="FFFFFF"/>
                </a:solidFill>
              </a14:hiddenFill>
            </a:ext>
          </a:extLst>
        </p:spPr>
      </p:pic>
      <p:sp>
        <p:nvSpPr>
          <p:cNvPr id="9" name="Textplatzhalter 8"/>
          <p:cNvSpPr>
            <a:spLocks noGrp="1"/>
          </p:cNvSpPr>
          <p:nvPr>
            <p:ph type="body" sz="quarter" idx="13" hasCustomPrompt="1"/>
          </p:nvPr>
        </p:nvSpPr>
        <p:spPr bwMode="gray">
          <a:xfrm>
            <a:off x="982662" y="4162521"/>
            <a:ext cx="7186612" cy="193899"/>
          </a:xfrm>
        </p:spPr>
        <p:txBody>
          <a:bodyPr/>
          <a:lstStyle>
            <a:lvl1pPr marL="0" indent="0">
              <a:buNone/>
              <a:defRPr sz="1400" b="1" baseline="0">
                <a:solidFill>
                  <a:schemeClr val="bg1"/>
                </a:solidFill>
              </a:defRPr>
            </a:lvl1pPr>
          </a:lstStyle>
          <a:p>
            <a:pPr lvl="0"/>
            <a:r>
              <a:rPr lang="en-GB" dirty="0"/>
              <a:t>Author, date</a:t>
            </a:r>
          </a:p>
        </p:txBody>
      </p:sp>
      <p:sp>
        <p:nvSpPr>
          <p:cNvPr id="11" name="Titel 10"/>
          <p:cNvSpPr>
            <a:spLocks noGrp="1"/>
          </p:cNvSpPr>
          <p:nvPr>
            <p:ph type="title" hasCustomPrompt="1"/>
          </p:nvPr>
        </p:nvSpPr>
        <p:spPr bwMode="gray">
          <a:xfrm>
            <a:off x="978102" y="3486658"/>
            <a:ext cx="7185713" cy="541687"/>
          </a:xfrm>
        </p:spPr>
        <p:txBody>
          <a:bodyPr anchor="b"/>
          <a:lstStyle>
            <a:lvl1pPr>
              <a:lnSpc>
                <a:spcPct val="80000"/>
              </a:lnSpc>
              <a:defRPr sz="4400">
                <a:solidFill>
                  <a:schemeClr val="bg1"/>
                </a:solidFill>
              </a:defRPr>
            </a:lvl1pPr>
          </a:lstStyle>
          <a:p>
            <a:r>
              <a:rPr lang="en-GB" dirty="0"/>
              <a:t>Title of the presentation</a:t>
            </a:r>
          </a:p>
        </p:txBody>
      </p:sp>
      <p:grpSp>
        <p:nvGrpSpPr>
          <p:cNvPr id="8" name="Gruppieren 7"/>
          <p:cNvGrpSpPr/>
          <p:nvPr userDrawn="1"/>
        </p:nvGrpSpPr>
        <p:grpSpPr>
          <a:xfrm>
            <a:off x="7767501" y="106363"/>
            <a:ext cx="1193937" cy="221456"/>
            <a:chOff x="8174038" y="147638"/>
            <a:chExt cx="787400" cy="146050"/>
          </a:xfrm>
        </p:grpSpPr>
        <p:sp>
          <p:nvSpPr>
            <p:cNvPr id="1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12"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4"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5"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6"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7"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19" name="Textfeld 18">
            <a:extLst>
              <a:ext uri="{FF2B5EF4-FFF2-40B4-BE49-F238E27FC236}">
                <a16:creationId xmlns:a16="http://schemas.microsoft.com/office/drawing/2014/main" id="{B8C0C1B3-D3C7-49E3-96A2-807C89CBEC52}"/>
              </a:ext>
            </a:extLst>
          </p:cNvPr>
          <p:cNvSpPr txBox="1">
            <a:spLocks/>
          </p:cNvSpPr>
          <p:nvPr userDrawn="1"/>
        </p:nvSpPr>
        <p:spPr>
          <a:xfrm>
            <a:off x="982662" y="5003805"/>
            <a:ext cx="7186612" cy="92333"/>
          </a:xfrm>
          <a:prstGeom prst="rect">
            <a:avLst/>
          </a:prstGeom>
          <a:noFill/>
        </p:spPr>
        <p:txBody>
          <a:bodyPr wrap="square" lIns="0" tIns="0" rIns="0" bIns="0" rtlCol="0">
            <a:spAutoFit/>
          </a:bodyPr>
          <a:lstStyle/>
          <a:p>
            <a:r>
              <a:rPr lang="en-US" sz="600" b="1"/>
              <a:t>© 2019 | GFT Technologies SE and its affiliates. All rights reserved.</a:t>
            </a:r>
            <a:endParaRPr lang="en-GB" sz="600" b="1" dirty="0"/>
          </a:p>
        </p:txBody>
      </p:sp>
    </p:spTree>
    <p:custDataLst>
      <p:tags r:id="rId1"/>
    </p:custDataLst>
    <p:extLst>
      <p:ext uri="{BB962C8B-B14F-4D97-AF65-F5344CB8AC3E}">
        <p14:creationId xmlns:p14="http://schemas.microsoft.com/office/powerpoint/2010/main" val="1088353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8 columns and tex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2"/>
            </p:custDataLst>
            <p:extLst>
              <p:ext uri="{D42A27DB-BD31-4B8C-83A1-F6EECF244321}">
                <p14:modId xmlns:p14="http://schemas.microsoft.com/office/powerpoint/2010/main" val="1298548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8" name="Objekt 1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Bildplatzhalter 14"/>
          <p:cNvSpPr>
            <a:spLocks noGrp="1"/>
          </p:cNvSpPr>
          <p:nvPr>
            <p:ph type="pic" sz="quarter" idx="14" hasCustomPrompt="1"/>
          </p:nvPr>
        </p:nvSpPr>
        <p:spPr>
          <a:xfrm>
            <a:off x="188913" y="441325"/>
            <a:ext cx="6330949" cy="4519613"/>
          </a:xfrm>
          <a:solidFill>
            <a:schemeClr val="accent6"/>
          </a:solidFill>
        </p:spPr>
        <p:txBody>
          <a:bodyPr>
            <a:noAutofit/>
          </a:bodyPr>
          <a:lstStyle>
            <a:lvl1pPr marL="0" indent="0">
              <a:buNone/>
              <a:defRPr sz="1200">
                <a:solidFill>
                  <a:schemeClr val="bg1"/>
                </a:solidFill>
              </a:defRPr>
            </a:lvl1pPr>
          </a:lstStyle>
          <a:p>
            <a:r>
              <a:rPr lang="en-US" dirty="0"/>
              <a:t>Insert 8-column picture from </a:t>
            </a:r>
            <a:r>
              <a:rPr lang="en-US" dirty="0" err="1"/>
              <a:t>imagepack</a:t>
            </a:r>
            <a:endParaRPr lang="en-GB" dirty="0"/>
          </a:p>
        </p:txBody>
      </p:sp>
      <p:sp>
        <p:nvSpPr>
          <p:cNvPr id="6" name="Titel 5"/>
          <p:cNvSpPr>
            <a:spLocks noGrp="1"/>
          </p:cNvSpPr>
          <p:nvPr>
            <p:ph type="title" hasCustomPrompt="1"/>
          </p:nvPr>
        </p:nvSpPr>
        <p:spPr>
          <a:xfrm>
            <a:off x="6930391" y="633413"/>
            <a:ext cx="1648460" cy="276999"/>
          </a:xfrm>
        </p:spPr>
        <p:txBody>
          <a:bodyPr/>
          <a:lstStyle>
            <a:lvl1pPr>
              <a:defRPr sz="2000" b="1"/>
            </a:lvl1pPr>
          </a:lstStyle>
          <a:p>
            <a:r>
              <a:rPr lang="en-GB" dirty="0"/>
              <a:t>Headline</a:t>
            </a:r>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7E353F6D-59FD-4B84-9AE5-EF1F64D065D6}" type="datetime1">
              <a:rPr lang="en-GB" smtClean="0"/>
              <a:t>02/12/2021</a:t>
            </a:fld>
            <a:endParaRPr lang="en-GB" dirty="0"/>
          </a:p>
        </p:txBody>
      </p:sp>
      <p:sp>
        <p:nvSpPr>
          <p:cNvPr id="3" name="Textplatzhalter 2"/>
          <p:cNvSpPr>
            <a:spLocks noGrp="1"/>
          </p:cNvSpPr>
          <p:nvPr>
            <p:ph type="body" sz="quarter" idx="15" hasCustomPrompt="1"/>
          </p:nvPr>
        </p:nvSpPr>
        <p:spPr>
          <a:xfrm>
            <a:off x="6930391" y="1265238"/>
            <a:ext cx="1648460" cy="1158875"/>
          </a:xfrm>
        </p:spPr>
        <p:txBody>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Textplatzhalter 4">
            <a:extLst>
              <a:ext uri="{FF2B5EF4-FFF2-40B4-BE49-F238E27FC236}">
                <a16:creationId xmlns:a16="http://schemas.microsoft.com/office/drawing/2014/main" id="{1708FC10-F46A-4567-9EE3-A40625FD0114}"/>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dirty="0"/>
              <a:t>Type here if </a:t>
            </a:r>
          </a:p>
          <a:p>
            <a:pPr lvl="0"/>
            <a:r>
              <a:rPr lang="en-US" dirty="0"/>
              <a:t>add info needed </a:t>
            </a:r>
          </a:p>
          <a:p>
            <a:pPr lvl="0"/>
            <a:r>
              <a:rPr lang="en-US" dirty="0"/>
              <a:t>for this slide</a:t>
            </a:r>
          </a:p>
        </p:txBody>
      </p:sp>
      <p:sp>
        <p:nvSpPr>
          <p:cNvPr id="2" name="Fußzeilenplatzhalter 1">
            <a:extLst>
              <a:ext uri="{FF2B5EF4-FFF2-40B4-BE49-F238E27FC236}">
                <a16:creationId xmlns:a16="http://schemas.microsoft.com/office/drawing/2014/main" id="{F02D1EBE-CF1D-4531-931D-8EDA8C7EFF7F}"/>
              </a:ext>
            </a:extLst>
          </p:cNvPr>
          <p:cNvSpPr>
            <a:spLocks noGrp="1"/>
          </p:cNvSpPr>
          <p:nvPr>
            <p:ph type="ftr" sz="quarter" idx="16"/>
          </p:nvPr>
        </p:nvSpPr>
        <p:spPr/>
        <p:txBody>
          <a:bodyPr/>
          <a:lstStyle/>
          <a:p>
            <a:r>
              <a:rPr lang="en-US"/>
              <a:t>Type here if  add info needed  for every slide</a:t>
            </a:r>
            <a:endParaRPr lang="en-US" dirty="0"/>
          </a:p>
        </p:txBody>
      </p:sp>
      <p:cxnSp>
        <p:nvCxnSpPr>
          <p:cNvPr id="12" name="Straight Connector 7">
            <a:extLst>
              <a:ext uri="{FF2B5EF4-FFF2-40B4-BE49-F238E27FC236}">
                <a16:creationId xmlns:a16="http://schemas.microsoft.com/office/drawing/2014/main" id="{9BB8C180-F262-43A9-B256-1E08EC103495}"/>
              </a:ext>
            </a:extLst>
          </p:cNvPr>
          <p:cNvCxnSpPr>
            <a:cxnSpLocks/>
          </p:cNvCxnSpPr>
          <p:nvPr userDrawn="1"/>
        </p:nvCxnSpPr>
        <p:spPr bwMode="gray">
          <a:xfrm>
            <a:off x="6545334" y="3175"/>
            <a:ext cx="0" cy="514032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745467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11 columns and text">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8107897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Bildplatzhalter 14"/>
          <p:cNvSpPr>
            <a:spLocks noGrp="1"/>
          </p:cNvSpPr>
          <p:nvPr>
            <p:ph type="pic" sz="quarter" idx="14" hasCustomPrompt="1"/>
          </p:nvPr>
        </p:nvSpPr>
        <p:spPr>
          <a:xfrm>
            <a:off x="188913" y="441325"/>
            <a:ext cx="8770144" cy="4519613"/>
          </a:xfrm>
          <a:solidFill>
            <a:schemeClr val="accent6"/>
          </a:solidFill>
        </p:spPr>
        <p:txBody>
          <a:bodyPr>
            <a:noAutofit/>
          </a:bodyPr>
          <a:lstStyle>
            <a:lvl1pPr marL="0" indent="0">
              <a:buNone/>
              <a:defRPr sz="1200">
                <a:solidFill>
                  <a:schemeClr val="bg1"/>
                </a:solidFill>
              </a:defRPr>
            </a:lvl1pPr>
          </a:lstStyle>
          <a:p>
            <a:r>
              <a:rPr lang="en-US" dirty="0" err="1"/>
              <a:t>Fullscreen</a:t>
            </a:r>
            <a:r>
              <a:rPr lang="en-US" dirty="0"/>
              <a:t> image slide! Insert 11-column picture from </a:t>
            </a:r>
            <a:r>
              <a:rPr lang="en-US" dirty="0" err="1"/>
              <a:t>imagepack</a:t>
            </a:r>
            <a:r>
              <a:rPr lang="en-US" dirty="0"/>
              <a:t>.</a:t>
            </a:r>
            <a:br>
              <a:rPr lang="en-US" dirty="0"/>
            </a:br>
            <a:r>
              <a:rPr lang="en-US" dirty="0"/>
              <a:t>No text but headline!</a:t>
            </a:r>
            <a:endParaRPr lang="en-GB" dirty="0"/>
          </a:p>
        </p:txBody>
      </p:sp>
      <p:sp>
        <p:nvSpPr>
          <p:cNvPr id="11" name="Titel 10"/>
          <p:cNvSpPr>
            <a:spLocks noGrp="1"/>
          </p:cNvSpPr>
          <p:nvPr>
            <p:ph type="title" hasCustomPrompt="1"/>
          </p:nvPr>
        </p:nvSpPr>
        <p:spPr>
          <a:xfrm>
            <a:off x="978102" y="3449702"/>
            <a:ext cx="7185713" cy="541687"/>
          </a:xfrm>
        </p:spPr>
        <p:txBody>
          <a:bodyPr anchor="b">
            <a:spAutoFit/>
          </a:bodyPr>
          <a:lstStyle>
            <a:lvl1pPr>
              <a:lnSpc>
                <a:spcPct val="80000"/>
              </a:lnSpc>
              <a:defRPr sz="4400"/>
            </a:lvl1pPr>
          </a:lstStyle>
          <a:p>
            <a:r>
              <a:rPr lang="en-GB" dirty="0"/>
              <a:t>Headline</a:t>
            </a: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D88D7170-51D6-4B60-8C55-B5C60F9F0F12}" type="datetime1">
              <a:rPr lang="en-GB" smtClean="0"/>
              <a:t>02/12/2021</a:t>
            </a:fld>
            <a:endParaRPr lang="en-GB" dirty="0"/>
          </a:p>
        </p:txBody>
      </p:sp>
      <p:sp>
        <p:nvSpPr>
          <p:cNvPr id="9" name="Textplatzhalter 4">
            <a:extLst>
              <a:ext uri="{FF2B5EF4-FFF2-40B4-BE49-F238E27FC236}">
                <a16:creationId xmlns:a16="http://schemas.microsoft.com/office/drawing/2014/main" id="{5D4BAD10-E9AD-4FA4-A4E0-11B4AA4045B2}"/>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dirty="0"/>
              <a:t>Type here if </a:t>
            </a:r>
          </a:p>
          <a:p>
            <a:pPr lvl="0"/>
            <a:r>
              <a:rPr lang="en-US" dirty="0"/>
              <a:t>add info needed </a:t>
            </a:r>
          </a:p>
          <a:p>
            <a:pPr lvl="0"/>
            <a:r>
              <a:rPr lang="en-US" dirty="0"/>
              <a:t>for this slide</a:t>
            </a:r>
          </a:p>
        </p:txBody>
      </p:sp>
      <p:sp>
        <p:nvSpPr>
          <p:cNvPr id="2" name="Fußzeilenplatzhalter 1">
            <a:extLst>
              <a:ext uri="{FF2B5EF4-FFF2-40B4-BE49-F238E27FC236}">
                <a16:creationId xmlns:a16="http://schemas.microsoft.com/office/drawing/2014/main" id="{5E73F7A2-8EAD-4612-AD1D-D99BDA8453FF}"/>
              </a:ext>
            </a:extLst>
          </p:cNvPr>
          <p:cNvSpPr>
            <a:spLocks noGrp="1"/>
          </p:cNvSpPr>
          <p:nvPr>
            <p:ph type="ftr" sz="quarter" idx="15"/>
          </p:nvPr>
        </p:nvSpPr>
        <p:spPr/>
        <p:txBody>
          <a:bodyPr/>
          <a:lstStyle/>
          <a:p>
            <a:r>
              <a:rPr lang="en-US"/>
              <a:t>Type here if  add info needed  for every slide</a:t>
            </a:r>
            <a:endParaRPr lang="en-US" dirty="0"/>
          </a:p>
        </p:txBody>
      </p:sp>
    </p:spTree>
    <p:custDataLst>
      <p:tags r:id="rId1"/>
    </p:custDataLst>
    <p:extLst>
      <p:ext uri="{BB962C8B-B14F-4D97-AF65-F5344CB8AC3E}">
        <p14:creationId xmlns:p14="http://schemas.microsoft.com/office/powerpoint/2010/main" val="24179723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uccess Story">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5638864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186532" y="441325"/>
            <a:ext cx="8774906" cy="4519613"/>
          </a:xfrm>
          <a:prstGeom prst="rect">
            <a:avLst/>
          </a:prstGeom>
          <a:solidFill>
            <a:srgbClr val="E1EBF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endParaRP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309C451E-D256-4A78-BC9F-20D1AF345EE3}" type="datetime1">
              <a:rPr lang="en-GB" smtClean="0"/>
              <a:t>02/12/2021</a:t>
            </a:fld>
            <a:endParaRPr lang="en-GB" dirty="0"/>
          </a:p>
        </p:txBody>
      </p:sp>
      <p:sp>
        <p:nvSpPr>
          <p:cNvPr id="2" name="Fußzeilenplatzhalter 1">
            <a:extLst>
              <a:ext uri="{FF2B5EF4-FFF2-40B4-BE49-F238E27FC236}">
                <a16:creationId xmlns:a16="http://schemas.microsoft.com/office/drawing/2014/main" id="{2EF12584-1E1D-4D71-86E5-BC9768D30C2A}"/>
              </a:ext>
            </a:extLst>
          </p:cNvPr>
          <p:cNvSpPr>
            <a:spLocks noGrp="1"/>
          </p:cNvSpPr>
          <p:nvPr>
            <p:ph type="ftr" sz="quarter" idx="13"/>
          </p:nvPr>
        </p:nvSpPr>
        <p:spPr/>
        <p:txBody>
          <a:bodyPr anchor="t"/>
          <a:lstStyle>
            <a:lvl1pPr>
              <a:defRPr>
                <a:solidFill>
                  <a:schemeClr val="bg1"/>
                </a:solidFill>
              </a:defRPr>
            </a:lvl1pPr>
          </a:lstStyle>
          <a:p>
            <a:r>
              <a:rPr lang="en-US" dirty="0"/>
              <a:t>Type here if  add info needed  for every slide</a:t>
            </a:r>
          </a:p>
        </p:txBody>
      </p:sp>
      <p:pic>
        <p:nvPicPr>
          <p:cNvPr id="10" name="Grafik 9">
            <a:extLst>
              <a:ext uri="{FF2B5EF4-FFF2-40B4-BE49-F238E27FC236}">
                <a16:creationId xmlns:a16="http://schemas.microsoft.com/office/drawing/2014/main" id="{4EBF2FCA-3666-4370-8138-ED6B11D77B1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87323" y="441324"/>
            <a:ext cx="3184527" cy="4519615"/>
          </a:xfrm>
          <a:prstGeom prst="rect">
            <a:avLst/>
          </a:prstGeom>
        </p:spPr>
      </p:pic>
      <p:pic>
        <p:nvPicPr>
          <p:cNvPr id="12" name="Grafik 11">
            <a:extLst>
              <a:ext uri="{FF2B5EF4-FFF2-40B4-BE49-F238E27FC236}">
                <a16:creationId xmlns:a16="http://schemas.microsoft.com/office/drawing/2014/main" id="{DDD5DB8D-C169-4963-B42E-7E71B8D373FB}"/>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t="-1" b="816"/>
          <a:stretch/>
        </p:blipFill>
        <p:spPr>
          <a:xfrm>
            <a:off x="187323" y="1859281"/>
            <a:ext cx="3145980" cy="3103244"/>
          </a:xfrm>
          <a:prstGeom prst="rect">
            <a:avLst/>
          </a:prstGeom>
        </p:spPr>
      </p:pic>
      <p:pic>
        <p:nvPicPr>
          <p:cNvPr id="14" name="Grafik 13">
            <a:extLst>
              <a:ext uri="{FF2B5EF4-FFF2-40B4-BE49-F238E27FC236}">
                <a16:creationId xmlns:a16="http://schemas.microsoft.com/office/drawing/2014/main" id="{CA1D5E87-51D5-482C-B861-8677DA0A2486}"/>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87323" y="441324"/>
            <a:ext cx="3145980" cy="1353903"/>
          </a:xfrm>
          <a:prstGeom prst="rect">
            <a:avLst/>
          </a:prstGeom>
        </p:spPr>
      </p:pic>
      <p:sp>
        <p:nvSpPr>
          <p:cNvPr id="15" name="Titel 5">
            <a:extLst>
              <a:ext uri="{FF2B5EF4-FFF2-40B4-BE49-F238E27FC236}">
                <a16:creationId xmlns:a16="http://schemas.microsoft.com/office/drawing/2014/main" id="{3F08AE8C-E6D1-4388-9DDC-9403B0AE08FC}"/>
              </a:ext>
            </a:extLst>
          </p:cNvPr>
          <p:cNvSpPr>
            <a:spLocks noGrp="1"/>
          </p:cNvSpPr>
          <p:nvPr>
            <p:ph type="title" hasCustomPrompt="1"/>
          </p:nvPr>
        </p:nvSpPr>
        <p:spPr>
          <a:xfrm>
            <a:off x="187323" y="576078"/>
            <a:ext cx="3112365" cy="747897"/>
          </a:xfrm>
          <a:noFill/>
        </p:spPr>
        <p:txBody>
          <a:bodyPr lIns="324000" tIns="0" rIns="144000" bIns="0" anchor="b">
            <a:spAutoFit/>
          </a:bodyPr>
          <a:lstStyle>
            <a:lvl1pPr>
              <a:defRPr sz="1800" b="1">
                <a:solidFill>
                  <a:schemeClr val="bg1"/>
                </a:solidFill>
              </a:defRPr>
            </a:lvl1pPr>
          </a:lstStyle>
          <a:p>
            <a:r>
              <a:rPr lang="en-GB" noProof="0" dirty="0"/>
              <a:t>Headline</a:t>
            </a:r>
            <a:br>
              <a:rPr lang="en-GB" noProof="0" dirty="0"/>
            </a:br>
            <a:r>
              <a:rPr lang="en-GB" noProof="0" dirty="0"/>
              <a:t>two or</a:t>
            </a:r>
            <a:br>
              <a:rPr lang="en-GB" noProof="0" dirty="0"/>
            </a:br>
            <a:r>
              <a:rPr lang="en-GB" noProof="0" dirty="0"/>
              <a:t>three lines</a:t>
            </a:r>
          </a:p>
        </p:txBody>
      </p:sp>
      <p:sp>
        <p:nvSpPr>
          <p:cNvPr id="17" name="Textplatzhalter 18">
            <a:extLst>
              <a:ext uri="{FF2B5EF4-FFF2-40B4-BE49-F238E27FC236}">
                <a16:creationId xmlns:a16="http://schemas.microsoft.com/office/drawing/2014/main" id="{8A45BD2A-3FD2-418F-A6BB-8A8936D83E52}"/>
              </a:ext>
            </a:extLst>
          </p:cNvPr>
          <p:cNvSpPr>
            <a:spLocks noGrp="1"/>
          </p:cNvSpPr>
          <p:nvPr>
            <p:ph type="body" sz="quarter" idx="23" hasCustomPrompt="1"/>
          </p:nvPr>
        </p:nvSpPr>
        <p:spPr>
          <a:xfrm>
            <a:off x="187322" y="2007962"/>
            <a:ext cx="3112365" cy="498598"/>
          </a:xfrm>
        </p:spPr>
        <p:txBody>
          <a:bodyPr lIns="324000" rIns="144000">
            <a:spAutoFit/>
          </a:bodyPr>
          <a:lstStyle>
            <a:lvl1pPr marL="0" indent="0">
              <a:buNone/>
              <a:defRPr sz="1200" baseline="0">
                <a:solidFill>
                  <a:schemeClr val="bg1"/>
                </a:solidFill>
              </a:defRPr>
            </a:lvl1pPr>
          </a:lstStyle>
          <a:p>
            <a:pPr lvl="0"/>
            <a:r>
              <a:rPr lang="de-DE" dirty="0"/>
              <a:t>Please insert text, </a:t>
            </a:r>
            <a:r>
              <a:rPr lang="de-DE" dirty="0" err="1"/>
              <a:t>graphic</a:t>
            </a:r>
            <a:r>
              <a:rPr lang="de-DE" dirty="0"/>
              <a:t> </a:t>
            </a:r>
            <a:r>
              <a:rPr lang="de-DE" dirty="0" err="1"/>
              <a:t>or</a:t>
            </a:r>
            <a:r>
              <a:rPr lang="de-DE" dirty="0"/>
              <a:t> picture and c</a:t>
            </a:r>
            <a:r>
              <a:rPr lang="en-US" noProof="0" dirty="0"/>
              <a:t>heck with: marketing-group@gft.com</a:t>
            </a:r>
            <a:endParaRPr lang="de-DE" dirty="0"/>
          </a:p>
        </p:txBody>
      </p:sp>
      <p:sp>
        <p:nvSpPr>
          <p:cNvPr id="18" name="Rechteck 17">
            <a:extLst>
              <a:ext uri="{FF2B5EF4-FFF2-40B4-BE49-F238E27FC236}">
                <a16:creationId xmlns:a16="http://schemas.microsoft.com/office/drawing/2014/main" id="{2B8D4479-AF10-4799-A736-D82BB79A04F5}"/>
              </a:ext>
            </a:extLst>
          </p:cNvPr>
          <p:cNvSpPr>
            <a:spLocks/>
          </p:cNvSpPr>
          <p:nvPr userDrawn="1"/>
        </p:nvSpPr>
        <p:spPr>
          <a:xfrm>
            <a:off x="187322" y="1536710"/>
            <a:ext cx="3112365" cy="166199"/>
          </a:xfrm>
          <a:prstGeom prst="rect">
            <a:avLst/>
          </a:prstGeom>
        </p:spPr>
        <p:txBody>
          <a:bodyPr vert="horz" lIns="324000" tIns="0" rIns="144000" bIns="0" rtlCol="0">
            <a:spAutoFit/>
          </a:bodyPr>
          <a:lstStyle/>
          <a:p>
            <a:pPr marR="0" lvl="0" indent="0" defTabSz="685800" fontAlgn="base">
              <a:lnSpc>
                <a:spcPct val="90000"/>
              </a:lnSpc>
              <a:spcBef>
                <a:spcPts val="600"/>
              </a:spcBef>
              <a:spcAft>
                <a:spcPct val="0"/>
              </a:spcAft>
              <a:buClr>
                <a:srgbClr val="000000"/>
              </a:buClr>
              <a:buSzTx/>
              <a:buFont typeface="Wingdings" panose="05000000000000000000" pitchFamily="2" charset="2"/>
              <a:buNone/>
              <a:tabLst/>
            </a:pPr>
            <a:r>
              <a:rPr lang="en-US" sz="1200" b="0" noProof="0" dirty="0">
                <a:solidFill>
                  <a:schemeClr val="bg1"/>
                </a:solidFill>
                <a:ea typeface="Geneva" pitchFamily="-128" charset="-128"/>
              </a:rPr>
              <a:t>Success story</a:t>
            </a:r>
          </a:p>
        </p:txBody>
      </p:sp>
      <p:sp>
        <p:nvSpPr>
          <p:cNvPr id="19" name="Textplatzhalter 3">
            <a:extLst>
              <a:ext uri="{FF2B5EF4-FFF2-40B4-BE49-F238E27FC236}">
                <a16:creationId xmlns:a16="http://schemas.microsoft.com/office/drawing/2014/main" id="{BE30909A-DFB6-49C7-8362-1755388B15D3}"/>
              </a:ext>
            </a:extLst>
          </p:cNvPr>
          <p:cNvSpPr>
            <a:spLocks noGrp="1"/>
          </p:cNvSpPr>
          <p:nvPr>
            <p:ph type="body" sz="quarter" idx="26" hasCustomPrompt="1"/>
          </p:nvPr>
        </p:nvSpPr>
        <p:spPr>
          <a:xfrm>
            <a:off x="3371850" y="438149"/>
            <a:ext cx="5588000" cy="3506480"/>
          </a:xfrm>
        </p:spPr>
        <p:txBody>
          <a:bodyPr lIns="396000" tIns="198000" rIns="144000" bIns="0">
            <a:spAutoFit/>
          </a:bodyPr>
          <a:lstStyle>
            <a:lvl1pPr marL="0" indent="0">
              <a:spcBef>
                <a:spcPts val="200"/>
              </a:spcBef>
              <a:buNone/>
              <a:defRPr sz="600" b="0" cap="all" baseline="0">
                <a:solidFill>
                  <a:schemeClr val="accent1"/>
                </a:solidFill>
              </a:defRPr>
            </a:lvl1pPr>
            <a:lvl2pPr marL="0" marR="0" indent="0" algn="l" defTabSz="685800" rtl="0" eaLnBrk="1" fontAlgn="base" latinLnBrk="0" hangingPunct="1">
              <a:lnSpc>
                <a:spcPct val="90000"/>
              </a:lnSpc>
              <a:spcBef>
                <a:spcPts val="200"/>
              </a:spcBef>
              <a:spcAft>
                <a:spcPct val="0"/>
              </a:spcAft>
              <a:buClr>
                <a:srgbClr val="000000"/>
              </a:buClr>
              <a:buSzTx/>
              <a:buFont typeface="Wingdings" panose="05000000000000000000" pitchFamily="2" charset="2"/>
              <a:buNone/>
              <a:tabLst/>
              <a:defRPr sz="900" b="1"/>
            </a:lvl2pPr>
            <a:lvl3pPr marL="136525" indent="-136525">
              <a:spcBef>
                <a:spcPts val="200"/>
              </a:spcBef>
              <a:defRPr sz="900"/>
            </a:lvl3pPr>
          </a:lstStyle>
          <a:p>
            <a:pPr lvl="0"/>
            <a:r>
              <a:rPr lang="de-DE" dirty="0"/>
              <a:t>The </a:t>
            </a:r>
            <a:r>
              <a:rPr lang="de-DE" dirty="0" err="1"/>
              <a:t>CHallenGE</a:t>
            </a:r>
            <a:endParaRPr lang="de-DE" dirty="0"/>
          </a:p>
          <a:p>
            <a:pPr lvl="1"/>
            <a:r>
              <a:rPr lang="de-DE" dirty="0" err="1"/>
              <a:t>One-sentence-summary</a:t>
            </a:r>
            <a:r>
              <a:rPr lang="de-DE" dirty="0"/>
              <a:t> </a:t>
            </a:r>
            <a:r>
              <a:rPr lang="de-DE" dirty="0" err="1"/>
              <a:t>here</a:t>
            </a:r>
            <a:endParaRPr lang="de-DE" dirty="0"/>
          </a:p>
          <a:p>
            <a:pPr lvl="2"/>
            <a:r>
              <a:rPr lang="de-DE" dirty="0"/>
              <a:t>Text</a:t>
            </a:r>
          </a:p>
          <a:p>
            <a:pPr lvl="2"/>
            <a:r>
              <a:rPr lang="de-DE" dirty="0"/>
              <a:t>Text</a:t>
            </a:r>
          </a:p>
          <a:p>
            <a:pPr lvl="2"/>
            <a:r>
              <a:rPr lang="de-DE" dirty="0"/>
              <a:t>Text</a:t>
            </a:r>
          </a:p>
          <a:p>
            <a:pPr lvl="2"/>
            <a:r>
              <a:rPr lang="de-DE" dirty="0"/>
              <a:t>Text</a:t>
            </a:r>
          </a:p>
          <a:p>
            <a:pPr lvl="2"/>
            <a:r>
              <a:rPr lang="de-DE" dirty="0"/>
              <a:t>Text</a:t>
            </a:r>
          </a:p>
          <a:p>
            <a:pPr lvl="2"/>
            <a:r>
              <a:rPr lang="de-DE" dirty="0"/>
              <a:t>Text</a:t>
            </a:r>
          </a:p>
          <a:p>
            <a:pPr lvl="2"/>
            <a:endParaRPr lang="de-DE" dirty="0"/>
          </a:p>
          <a:p>
            <a:pPr lvl="0"/>
            <a:r>
              <a:rPr lang="de-DE" dirty="0"/>
              <a:t>THE ENGAGEMENT</a:t>
            </a:r>
            <a:endParaRPr lang="en-GB" dirty="0"/>
          </a:p>
          <a:p>
            <a:pPr lvl="1"/>
            <a:r>
              <a:rPr lang="en-GB" dirty="0"/>
              <a:t>One-sentence-summary here</a:t>
            </a:r>
          </a:p>
          <a:p>
            <a:pPr lvl="2"/>
            <a:r>
              <a:rPr lang="en-GB" dirty="0"/>
              <a:t>Text</a:t>
            </a:r>
          </a:p>
          <a:p>
            <a:pPr lvl="2"/>
            <a:r>
              <a:rPr lang="en-GB" dirty="0"/>
              <a:t>Text</a:t>
            </a:r>
          </a:p>
          <a:p>
            <a:pPr lvl="2"/>
            <a:r>
              <a:rPr lang="en-GB" dirty="0"/>
              <a:t>Text</a:t>
            </a:r>
          </a:p>
          <a:p>
            <a:pPr lvl="2"/>
            <a:r>
              <a:rPr lang="en-GB" dirty="0"/>
              <a:t>Text</a:t>
            </a:r>
          </a:p>
          <a:p>
            <a:pPr lvl="2"/>
            <a:r>
              <a:rPr lang="en-GB" dirty="0"/>
              <a:t>Text</a:t>
            </a:r>
          </a:p>
          <a:p>
            <a:pPr lvl="2"/>
            <a:endParaRPr lang="de-DE" dirty="0"/>
          </a:p>
          <a:p>
            <a:pPr lvl="0"/>
            <a:r>
              <a:rPr lang="de-DE" dirty="0"/>
              <a:t>THE BENEFIT</a:t>
            </a:r>
            <a:endParaRPr lang="en-GB" dirty="0"/>
          </a:p>
          <a:p>
            <a:pPr lvl="1"/>
            <a:r>
              <a:rPr lang="en-GB" dirty="0"/>
              <a:t>One-sentence-summary here</a:t>
            </a:r>
          </a:p>
          <a:p>
            <a:pPr lvl="2"/>
            <a:r>
              <a:rPr lang="en-GB" dirty="0"/>
              <a:t>Text</a:t>
            </a:r>
          </a:p>
          <a:p>
            <a:pPr lvl="2"/>
            <a:r>
              <a:rPr lang="en-GB" dirty="0"/>
              <a:t>Text</a:t>
            </a:r>
          </a:p>
          <a:p>
            <a:pPr lvl="2"/>
            <a:r>
              <a:rPr lang="en-GB" dirty="0"/>
              <a:t>Text</a:t>
            </a:r>
          </a:p>
          <a:p>
            <a:pPr lvl="2"/>
            <a:r>
              <a:rPr lang="en-GB" dirty="0"/>
              <a:t>Text</a:t>
            </a:r>
            <a:endParaRPr lang="de-DE" dirty="0"/>
          </a:p>
        </p:txBody>
      </p:sp>
      <p:sp>
        <p:nvSpPr>
          <p:cNvPr id="20" name="Textplatzhalter 3">
            <a:extLst>
              <a:ext uri="{FF2B5EF4-FFF2-40B4-BE49-F238E27FC236}">
                <a16:creationId xmlns:a16="http://schemas.microsoft.com/office/drawing/2014/main" id="{E31F4BE4-DDEE-4D51-8F82-85B3B65E3011}"/>
              </a:ext>
            </a:extLst>
          </p:cNvPr>
          <p:cNvSpPr txBox="1">
            <a:spLocks/>
          </p:cNvSpPr>
          <p:nvPr userDrawn="1"/>
        </p:nvSpPr>
        <p:spPr>
          <a:xfrm>
            <a:off x="9542551" y="438149"/>
            <a:ext cx="2173199" cy="2853602"/>
          </a:xfrm>
          <a:prstGeom prst="rect">
            <a:avLst/>
          </a:prstGeom>
        </p:spPr>
        <p:txBody>
          <a:bodyPr wrap="square" lIns="0" tIns="0" rIns="0" bIns="0">
            <a:spAutoFit/>
          </a:bodyPr>
          <a:lstStyle>
            <a:lvl1pPr marL="0" marR="0" indent="0" algn="l" defTabSz="685800" rtl="0" eaLnBrk="1" fontAlgn="base" latinLnBrk="0" hangingPunct="1">
              <a:lnSpc>
                <a:spcPct val="90000"/>
              </a:lnSpc>
              <a:spcBef>
                <a:spcPts val="400"/>
              </a:spcBef>
              <a:spcAft>
                <a:spcPct val="0"/>
              </a:spcAft>
              <a:buClr>
                <a:srgbClr val="000000"/>
              </a:buClr>
              <a:buSzTx/>
              <a:buFont typeface="Wingdings" panose="05000000000000000000" pitchFamily="2" charset="2"/>
              <a:buNone/>
              <a:tabLst/>
              <a:defRPr lang="de-DE" sz="800" b="1" kern="1200" cap="all" baseline="0">
                <a:solidFill>
                  <a:schemeClr val="accent1"/>
                </a:solidFill>
                <a:latin typeface="+mn-lt"/>
                <a:ea typeface="Geneva" pitchFamily="-128" charset="-128"/>
                <a:cs typeface="+mn-cs"/>
              </a:defRPr>
            </a:lvl1pPr>
            <a:lvl2pPr marL="0" marR="0" indent="0" algn="l" defTabSz="685800" rtl="0" eaLnBrk="1" fontAlgn="base" latinLnBrk="0" hangingPunct="1">
              <a:lnSpc>
                <a:spcPct val="90000"/>
              </a:lnSpc>
              <a:spcBef>
                <a:spcPts val="0"/>
              </a:spcBef>
              <a:spcAft>
                <a:spcPct val="0"/>
              </a:spcAft>
              <a:buClr>
                <a:srgbClr val="000000"/>
              </a:buClr>
              <a:buSzTx/>
              <a:buFont typeface="Wingdings" panose="05000000000000000000" pitchFamily="2" charset="2"/>
              <a:buNone/>
              <a:tabLst/>
              <a:defRPr lang="de-DE" sz="1000" b="1" kern="1200">
                <a:solidFill>
                  <a:schemeClr val="tx1"/>
                </a:solidFill>
                <a:latin typeface="+mn-lt"/>
                <a:ea typeface="Geneva" pitchFamily="-128" charset="-128"/>
                <a:cs typeface="+mn-cs"/>
              </a:defRPr>
            </a:lvl2pPr>
            <a:lvl3pPr marL="0" marR="0" indent="0" algn="l" defTabSz="685800" rtl="0" eaLnBrk="1" fontAlgn="base" latinLnBrk="0" hangingPunct="1">
              <a:lnSpc>
                <a:spcPct val="90000"/>
              </a:lnSpc>
              <a:spcBef>
                <a:spcPts val="400"/>
              </a:spcBef>
              <a:spcAft>
                <a:spcPct val="0"/>
              </a:spcAft>
              <a:buClr>
                <a:srgbClr val="000000"/>
              </a:buClr>
              <a:buSzTx/>
              <a:buFont typeface="Wingdings" panose="05000000000000000000" pitchFamily="2" charset="2"/>
              <a:buNone/>
              <a:tabLst/>
              <a:defRPr lang="de-DE" sz="1000" b="0" kern="1200" baseline="0">
                <a:solidFill>
                  <a:schemeClr val="tx1"/>
                </a:solidFill>
                <a:latin typeface="+mn-lt"/>
                <a:ea typeface="Geneva" pitchFamily="-128" charset="-128"/>
                <a:cs typeface="+mn-cs"/>
              </a:defRPr>
            </a:lvl3pPr>
            <a:lvl4pPr marL="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lang="de-DE" sz="1000" b="1" kern="1200" smtClean="0">
                <a:solidFill>
                  <a:srgbClr val="EC660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3"/>
            <a:r>
              <a:rPr lang="en-US" sz="900" b="0" dirty="0"/>
              <a:t>Please use this structure and style:</a:t>
            </a:r>
          </a:p>
          <a:p>
            <a:pPr lvl="3"/>
            <a:endParaRPr lang="en-US" dirty="0"/>
          </a:p>
          <a:p>
            <a:pPr>
              <a:spcBef>
                <a:spcPts val="200"/>
              </a:spcBef>
            </a:pPr>
            <a:r>
              <a:rPr lang="en-US" sz="600" b="0" dirty="0"/>
              <a:t>The </a:t>
            </a:r>
            <a:r>
              <a:rPr lang="en-US" sz="600" b="0" dirty="0" err="1"/>
              <a:t>CHallenGE</a:t>
            </a:r>
            <a:r>
              <a:rPr lang="en-US" sz="600" b="0" dirty="0"/>
              <a:t>, 6 </a:t>
            </a:r>
            <a:r>
              <a:rPr lang="en-US" sz="600" b="0" dirty="0" err="1"/>
              <a:t>pt</a:t>
            </a:r>
            <a:r>
              <a:rPr lang="en-US" sz="600" b="0" dirty="0"/>
              <a:t>, </a:t>
            </a:r>
            <a:r>
              <a:rPr lang="en-US" sz="600" b="0" dirty="0" err="1"/>
              <a:t>unbold</a:t>
            </a:r>
            <a:endParaRPr lang="en-US" sz="600" b="0" dirty="0"/>
          </a:p>
          <a:p>
            <a:pPr lvl="1">
              <a:spcBef>
                <a:spcPts val="200"/>
              </a:spcBef>
            </a:pPr>
            <a:r>
              <a:rPr lang="en-US" sz="900" dirty="0"/>
              <a:t>One-sentence-summary, 9 </a:t>
            </a:r>
            <a:r>
              <a:rPr lang="en-US" sz="900" dirty="0" err="1"/>
              <a:t>pt</a:t>
            </a:r>
            <a:r>
              <a:rPr lang="en-US" sz="900" dirty="0"/>
              <a:t>, bold</a:t>
            </a:r>
          </a:p>
          <a:p>
            <a:pPr marL="138113" lvl="2" indent="-138113">
              <a:spcBef>
                <a:spcPts val="200"/>
              </a:spcBef>
              <a:buFont typeface="Wingdings" panose="05000000000000000000" pitchFamily="2" charset="2"/>
              <a:buChar char="§"/>
            </a:pPr>
            <a:r>
              <a:rPr lang="en-US" sz="900" dirty="0"/>
              <a:t>Bullets, 9 </a:t>
            </a:r>
            <a:r>
              <a:rPr lang="en-US" sz="900" dirty="0" err="1"/>
              <a:t>pt</a:t>
            </a:r>
            <a:r>
              <a:rPr lang="en-US" sz="900" dirty="0"/>
              <a:t>, </a:t>
            </a:r>
            <a:r>
              <a:rPr lang="en-US" sz="900" dirty="0" err="1"/>
              <a:t>unbold</a:t>
            </a:r>
            <a:endParaRPr lang="en-US" sz="900" dirty="0"/>
          </a:p>
          <a:p>
            <a:pPr marL="138113" lvl="2" indent="-138113">
              <a:spcBef>
                <a:spcPts val="200"/>
              </a:spcBef>
              <a:buFont typeface="Wingdings" panose="05000000000000000000" pitchFamily="2" charset="2"/>
              <a:buChar char="§"/>
            </a:pPr>
            <a:endParaRPr lang="en-US" sz="900" dirty="0"/>
          </a:p>
          <a:p>
            <a:pPr marL="0" lvl="2" indent="0">
              <a:spcBef>
                <a:spcPts val="200"/>
              </a:spcBef>
              <a:buFont typeface="Wingdings" panose="05000000000000000000" pitchFamily="2" charset="2"/>
              <a:buNone/>
            </a:pPr>
            <a:r>
              <a:rPr lang="en-US" sz="900" dirty="0"/>
              <a:t>1 empty line before next paragraph</a:t>
            </a:r>
          </a:p>
          <a:p>
            <a:pPr marL="0" lvl="2" indent="0">
              <a:spcBef>
                <a:spcPts val="200"/>
              </a:spcBef>
              <a:buFont typeface="Wingdings" panose="05000000000000000000" pitchFamily="2" charset="2"/>
              <a:buNone/>
            </a:pPr>
            <a:endParaRPr lang="en-US" dirty="0"/>
          </a:p>
          <a:p>
            <a:pPr>
              <a:spcBef>
                <a:spcPts val="200"/>
              </a:spcBef>
            </a:pPr>
            <a:r>
              <a:rPr lang="en-US" sz="600" b="0" dirty="0"/>
              <a:t>The ENGAGEMENT, 6 </a:t>
            </a:r>
            <a:r>
              <a:rPr lang="en-US" sz="600" b="0" dirty="0" err="1"/>
              <a:t>pt</a:t>
            </a:r>
            <a:r>
              <a:rPr lang="en-US" sz="600" b="0" dirty="0"/>
              <a:t>, </a:t>
            </a:r>
            <a:r>
              <a:rPr lang="en-US" sz="600" b="0" dirty="0" err="1"/>
              <a:t>unbold</a:t>
            </a:r>
            <a:endParaRPr lang="en-US" sz="600" b="0" dirty="0"/>
          </a:p>
          <a:p>
            <a:pPr lvl="1">
              <a:spcBef>
                <a:spcPts val="200"/>
              </a:spcBef>
            </a:pPr>
            <a:r>
              <a:rPr lang="en-US" sz="900" dirty="0"/>
              <a:t>One-sentence-summary, 9 </a:t>
            </a:r>
            <a:r>
              <a:rPr lang="en-US" sz="900" dirty="0" err="1"/>
              <a:t>pt</a:t>
            </a:r>
            <a:r>
              <a:rPr lang="en-US" sz="900" dirty="0"/>
              <a:t>, bold</a:t>
            </a:r>
          </a:p>
          <a:p>
            <a:pPr marL="138113" lvl="2" indent="-138113">
              <a:spcBef>
                <a:spcPts val="200"/>
              </a:spcBef>
              <a:buFont typeface="Wingdings" panose="05000000000000000000" pitchFamily="2" charset="2"/>
              <a:buChar char="§"/>
            </a:pPr>
            <a:r>
              <a:rPr lang="en-US" sz="900" dirty="0"/>
              <a:t>Bullets, 9 </a:t>
            </a:r>
            <a:r>
              <a:rPr lang="en-US" sz="900" dirty="0" err="1"/>
              <a:t>pt</a:t>
            </a:r>
            <a:r>
              <a:rPr lang="en-US" sz="900" dirty="0"/>
              <a:t>, </a:t>
            </a:r>
            <a:r>
              <a:rPr lang="en-US" sz="900" dirty="0" err="1"/>
              <a:t>unbold</a:t>
            </a:r>
            <a:endParaRPr lang="en-US" sz="900" dirty="0"/>
          </a:p>
          <a:p>
            <a:pPr marL="138113" lvl="2" indent="-138113">
              <a:spcBef>
                <a:spcPts val="200"/>
              </a:spcBef>
              <a:buFont typeface="Wingdings" panose="05000000000000000000" pitchFamily="2" charset="2"/>
              <a:buChar char="§"/>
            </a:pPr>
            <a:endParaRPr lang="en-US" sz="900" dirty="0"/>
          </a:p>
          <a:p>
            <a:pPr marL="0" lvl="2" indent="0">
              <a:spcBef>
                <a:spcPts val="200"/>
              </a:spcBef>
              <a:buFont typeface="Wingdings" panose="05000000000000000000" pitchFamily="2" charset="2"/>
              <a:buNone/>
            </a:pPr>
            <a:r>
              <a:rPr lang="en-US" sz="900" dirty="0"/>
              <a:t>1 empty line before next paragraph</a:t>
            </a:r>
          </a:p>
          <a:p>
            <a:pPr marL="0" lvl="2" indent="0">
              <a:spcBef>
                <a:spcPts val="200"/>
              </a:spcBef>
              <a:buFont typeface="Wingdings" panose="05000000000000000000" pitchFamily="2" charset="2"/>
              <a:buNone/>
            </a:pPr>
            <a:endParaRPr lang="en-US" dirty="0"/>
          </a:p>
          <a:p>
            <a:pPr>
              <a:spcBef>
                <a:spcPts val="200"/>
              </a:spcBef>
            </a:pPr>
            <a:r>
              <a:rPr lang="en-US" sz="600" b="0" dirty="0"/>
              <a:t>The BENEFIT, 6 </a:t>
            </a:r>
            <a:r>
              <a:rPr lang="en-US" sz="600" b="0" dirty="0" err="1"/>
              <a:t>pt</a:t>
            </a:r>
            <a:r>
              <a:rPr lang="en-US" sz="600" b="0" dirty="0"/>
              <a:t>, </a:t>
            </a:r>
            <a:r>
              <a:rPr lang="en-US" sz="600" b="0" dirty="0" err="1"/>
              <a:t>unbold</a:t>
            </a:r>
            <a:endParaRPr lang="en-US" sz="600" b="0" dirty="0"/>
          </a:p>
          <a:p>
            <a:pPr lvl="1">
              <a:spcBef>
                <a:spcPts val="200"/>
              </a:spcBef>
            </a:pPr>
            <a:r>
              <a:rPr lang="en-US" sz="900" dirty="0"/>
              <a:t>One-sentence-summary, 9 </a:t>
            </a:r>
            <a:r>
              <a:rPr lang="en-US" sz="900" dirty="0" err="1"/>
              <a:t>pt</a:t>
            </a:r>
            <a:r>
              <a:rPr lang="en-US" sz="900" dirty="0"/>
              <a:t>, bold</a:t>
            </a:r>
          </a:p>
          <a:p>
            <a:pPr marL="138113" lvl="2" indent="-138113">
              <a:spcBef>
                <a:spcPts val="200"/>
              </a:spcBef>
              <a:buFont typeface="Wingdings" panose="05000000000000000000" pitchFamily="2" charset="2"/>
              <a:buChar char="§"/>
            </a:pPr>
            <a:r>
              <a:rPr lang="en-US" sz="900" dirty="0"/>
              <a:t>Bullets, 9 </a:t>
            </a:r>
            <a:r>
              <a:rPr lang="en-US" sz="900" dirty="0" err="1"/>
              <a:t>pt</a:t>
            </a:r>
            <a:r>
              <a:rPr lang="en-US" sz="900" dirty="0"/>
              <a:t>, </a:t>
            </a:r>
            <a:r>
              <a:rPr lang="en-US" sz="900" dirty="0" err="1"/>
              <a:t>unbold</a:t>
            </a:r>
            <a:endParaRPr lang="en-US" sz="900" dirty="0"/>
          </a:p>
          <a:p>
            <a:pPr marL="138113" lvl="2" indent="-138113">
              <a:spcBef>
                <a:spcPts val="200"/>
              </a:spcBef>
              <a:buFont typeface="Wingdings" panose="05000000000000000000" pitchFamily="2" charset="2"/>
              <a:buChar char="§"/>
            </a:pPr>
            <a:endParaRPr lang="en-US" sz="900" dirty="0"/>
          </a:p>
          <a:p>
            <a:pPr marL="0" lvl="2" indent="0">
              <a:spcBef>
                <a:spcPts val="200"/>
              </a:spcBef>
              <a:buFont typeface="Wingdings" panose="05000000000000000000" pitchFamily="2" charset="2"/>
              <a:buNone/>
            </a:pPr>
            <a:endParaRPr lang="en-US" dirty="0"/>
          </a:p>
        </p:txBody>
      </p:sp>
      <p:sp>
        <p:nvSpPr>
          <p:cNvPr id="21" name="Textplatzhalter 4">
            <a:extLst>
              <a:ext uri="{FF2B5EF4-FFF2-40B4-BE49-F238E27FC236}">
                <a16:creationId xmlns:a16="http://schemas.microsoft.com/office/drawing/2014/main" id="{7D65DC9B-A03E-4B6E-BA94-7C0D37E1830E}"/>
              </a:ext>
            </a:extLst>
          </p:cNvPr>
          <p:cNvSpPr>
            <a:spLocks noGrp="1"/>
          </p:cNvSpPr>
          <p:nvPr>
            <p:ph type="body" sz="quarter" idx="12" hasCustomPrompt="1"/>
          </p:nvPr>
        </p:nvSpPr>
        <p:spPr>
          <a:xfrm>
            <a:off x="4168774" y="86336"/>
            <a:ext cx="720000" cy="249299"/>
          </a:xfrm>
        </p:spPr>
        <p:txBody>
          <a:bodyPr>
            <a:noAutofit/>
          </a:bodyPr>
          <a:lstStyle>
            <a:lvl1pPr marL="0" indent="0">
              <a:spcBef>
                <a:spcPts val="0"/>
              </a:spcBef>
              <a:buNone/>
              <a:defRPr sz="600" b="1">
                <a:solidFill>
                  <a:schemeClr val="accent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dirty="0"/>
              <a:t>Country</a:t>
            </a:r>
          </a:p>
        </p:txBody>
      </p:sp>
      <p:sp>
        <p:nvSpPr>
          <p:cNvPr id="22" name="Textplatzhalter 4">
            <a:extLst>
              <a:ext uri="{FF2B5EF4-FFF2-40B4-BE49-F238E27FC236}">
                <a16:creationId xmlns:a16="http://schemas.microsoft.com/office/drawing/2014/main" id="{35DC7D0B-3A72-4CAE-92C0-FC9CF2AC7B92}"/>
              </a:ext>
            </a:extLst>
          </p:cNvPr>
          <p:cNvSpPr>
            <a:spLocks noGrp="1"/>
          </p:cNvSpPr>
          <p:nvPr>
            <p:ph type="body" sz="quarter" idx="27" hasCustomPrompt="1"/>
          </p:nvPr>
        </p:nvSpPr>
        <p:spPr>
          <a:xfrm>
            <a:off x="3371850" y="86336"/>
            <a:ext cx="720000" cy="249299"/>
          </a:xfrm>
        </p:spPr>
        <p:txBody>
          <a:bodyPr>
            <a:noAutofit/>
          </a:bodyPr>
          <a:lstStyle>
            <a:lvl1pPr marL="0" indent="0">
              <a:spcBef>
                <a:spcPts val="0"/>
              </a:spcBef>
              <a:buNone/>
              <a:defRPr sz="600" b="1">
                <a:solidFill>
                  <a:schemeClr val="accent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dirty="0"/>
              <a:t>Key sector</a:t>
            </a:r>
          </a:p>
        </p:txBody>
      </p:sp>
      <p:sp>
        <p:nvSpPr>
          <p:cNvPr id="23" name="Textplatzhalter 4">
            <a:extLst>
              <a:ext uri="{FF2B5EF4-FFF2-40B4-BE49-F238E27FC236}">
                <a16:creationId xmlns:a16="http://schemas.microsoft.com/office/drawing/2014/main" id="{78975FA2-C3EC-45D4-AA98-E1967D4549AF}"/>
              </a:ext>
            </a:extLst>
          </p:cNvPr>
          <p:cNvSpPr>
            <a:spLocks noGrp="1"/>
          </p:cNvSpPr>
          <p:nvPr>
            <p:ph type="body" sz="quarter" idx="24" hasCustomPrompt="1"/>
          </p:nvPr>
        </p:nvSpPr>
        <p:spPr>
          <a:xfrm>
            <a:off x="4960936"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dirty="0"/>
              <a:t>Key capabilities</a:t>
            </a:r>
          </a:p>
        </p:txBody>
      </p:sp>
      <p:sp>
        <p:nvSpPr>
          <p:cNvPr id="24" name="Textplatzhalter 4">
            <a:extLst>
              <a:ext uri="{FF2B5EF4-FFF2-40B4-BE49-F238E27FC236}">
                <a16:creationId xmlns:a16="http://schemas.microsoft.com/office/drawing/2014/main" id="{9116E9B1-0FEB-414C-A914-2D30C872C4E5}"/>
              </a:ext>
            </a:extLst>
          </p:cNvPr>
          <p:cNvSpPr>
            <a:spLocks noGrp="1"/>
          </p:cNvSpPr>
          <p:nvPr>
            <p:ph type="body" sz="quarter" idx="25" hasCustomPrompt="1"/>
          </p:nvPr>
        </p:nvSpPr>
        <p:spPr>
          <a:xfrm>
            <a:off x="5753098"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dirty="0"/>
              <a:t>Helix offering</a:t>
            </a:r>
          </a:p>
        </p:txBody>
      </p:sp>
      <p:sp>
        <p:nvSpPr>
          <p:cNvPr id="25" name="Freihandform: Form 24">
            <a:extLst>
              <a:ext uri="{FF2B5EF4-FFF2-40B4-BE49-F238E27FC236}">
                <a16:creationId xmlns:a16="http://schemas.microsoft.com/office/drawing/2014/main" id="{1F4EDD36-0A21-4DAF-BFBF-D4B6DBCE55D4}"/>
              </a:ext>
            </a:extLst>
          </p:cNvPr>
          <p:cNvSpPr>
            <a:spLocks/>
          </p:cNvSpPr>
          <p:nvPr userDrawn="1"/>
        </p:nvSpPr>
        <p:spPr>
          <a:xfrm>
            <a:off x="526257" y="1359428"/>
            <a:ext cx="144000" cy="144000"/>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dirty="0">
              <a:solidFill>
                <a:schemeClr val="tx1"/>
              </a:solidFill>
            </a:endParaRPr>
          </a:p>
        </p:txBody>
      </p:sp>
      <p:cxnSp>
        <p:nvCxnSpPr>
          <p:cNvPr id="26" name="Straight Connector 7">
            <a:extLst>
              <a:ext uri="{FF2B5EF4-FFF2-40B4-BE49-F238E27FC236}">
                <a16:creationId xmlns:a16="http://schemas.microsoft.com/office/drawing/2014/main" id="{DC94F3C6-ECE5-4205-AF43-9D05210017EC}"/>
              </a:ext>
            </a:extLst>
          </p:cNvPr>
          <p:cNvCxnSpPr>
            <a:cxnSpLocks/>
          </p:cNvCxnSpPr>
          <p:nvPr userDrawn="1"/>
        </p:nvCxnSpPr>
        <p:spPr bwMode="gray">
          <a:xfrm>
            <a:off x="3344642" y="3175"/>
            <a:ext cx="0" cy="514032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3858139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act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794385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50"/>
          <p:cNvPicPr>
            <a:picLocks noChangeAspect="1" noChangeArrowheads="1"/>
          </p:cNvPicPr>
          <p:nvPr userDrawn="1"/>
        </p:nvPicPr>
        <p:blipFill>
          <a:blip r:embed="rId6">
            <a:extLst>
              <a:ext uri="{28A0092B-C50C-407E-A947-70E740481C1C}">
                <a14:useLocalDpi xmlns:a14="http://schemas.microsoft.com/office/drawing/2010/main" val="0"/>
              </a:ext>
            </a:extLst>
          </a:blip>
          <a:stretch>
            <a:fillRect/>
          </a:stretch>
        </p:blipFill>
        <p:spPr bwMode="auto">
          <a:xfrm>
            <a:off x="188913" y="441325"/>
            <a:ext cx="8769350" cy="4519613"/>
          </a:xfrm>
          <a:prstGeom prst="rect">
            <a:avLst/>
          </a:prstGeom>
          <a:noFill/>
          <a:extLst>
            <a:ext uri="{909E8E84-426E-40DD-AFC4-6F175D3DCCD1}">
              <a14:hiddenFill xmlns:a14="http://schemas.microsoft.com/office/drawing/2010/main">
                <a:solidFill>
                  <a:srgbClr val="FFFFFF"/>
                </a:solidFill>
              </a14:hiddenFill>
            </a:ext>
          </a:extLst>
        </p:spPr>
      </p:pic>
      <p:sp>
        <p:nvSpPr>
          <p:cNvPr id="9" name="Textplatzhalter 8"/>
          <p:cNvSpPr>
            <a:spLocks noGrp="1"/>
          </p:cNvSpPr>
          <p:nvPr>
            <p:ph type="body" sz="quarter" idx="13" hasCustomPrompt="1"/>
          </p:nvPr>
        </p:nvSpPr>
        <p:spPr bwMode="gray">
          <a:xfrm>
            <a:off x="982662" y="2701925"/>
            <a:ext cx="7186612" cy="193899"/>
          </a:xfrm>
        </p:spPr>
        <p:txBody>
          <a:bodyPr anchor="t"/>
          <a:lstStyle>
            <a:lvl1pPr marL="0" indent="0">
              <a:buNone/>
              <a:defRPr sz="1400" b="1">
                <a:solidFill>
                  <a:schemeClr val="bg1"/>
                </a:solidFill>
              </a:defRPr>
            </a:lvl1pPr>
          </a:lstStyle>
          <a:p>
            <a:pPr lvl="0"/>
            <a:r>
              <a:rPr lang="en-GB" dirty="0"/>
              <a:t>Subhead</a:t>
            </a:r>
          </a:p>
        </p:txBody>
      </p:sp>
      <p:sp>
        <p:nvSpPr>
          <p:cNvPr id="3" name="Textplatzhalter 2"/>
          <p:cNvSpPr>
            <a:spLocks noGrp="1"/>
          </p:cNvSpPr>
          <p:nvPr>
            <p:ph type="body" sz="quarter" idx="15" hasCustomPrompt="1"/>
          </p:nvPr>
        </p:nvSpPr>
        <p:spPr bwMode="gray">
          <a:xfrm>
            <a:off x="982662" y="3027095"/>
            <a:ext cx="7186612" cy="1123384"/>
          </a:xfrm>
        </p:spPr>
        <p:txBody>
          <a:bodyPr/>
          <a:lstStyle>
            <a:lvl1pPr marL="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sz="1000" baseline="0">
                <a:solidFill>
                  <a:schemeClr val="bg1"/>
                </a:solidFill>
              </a:defRPr>
            </a:lvl1pPr>
            <a:lvl2pPr>
              <a:defRPr sz="1400"/>
            </a:lvl2pPr>
            <a:lvl3pPr>
              <a:defRPr sz="1400"/>
            </a:lvl3pPr>
            <a:lvl4pPr>
              <a:defRPr sz="1400"/>
            </a:lvl4pPr>
            <a:lvl5pPr>
              <a:defRPr sz="1400"/>
            </a:lvl5pPr>
          </a:lstStyle>
          <a:p>
            <a:pPr lvl="0"/>
            <a:r>
              <a:rPr lang="en-GB" noProof="0" dirty="0"/>
              <a:t>GFT </a:t>
            </a:r>
            <a:r>
              <a:rPr lang="en-GB" dirty="0"/>
              <a:t>[please insert your GFT entity – see notes] </a:t>
            </a:r>
            <a:br>
              <a:rPr lang="en-GB" noProof="0" dirty="0"/>
            </a:br>
            <a:r>
              <a:rPr lang="en-GB" noProof="0" dirty="0"/>
              <a:t>First name Last name</a:t>
            </a:r>
            <a:br>
              <a:rPr lang="en-GB" noProof="0" dirty="0"/>
            </a:br>
            <a:r>
              <a:rPr lang="en-GB" noProof="0" dirty="0"/>
              <a:t>Position</a:t>
            </a:r>
          </a:p>
          <a:p>
            <a:pPr lvl="0"/>
            <a:r>
              <a:rPr lang="en-GB" noProof="0" dirty="0"/>
              <a:t>Street address</a:t>
            </a:r>
            <a:br>
              <a:rPr lang="en-GB" noProof="0" dirty="0"/>
            </a:br>
            <a:r>
              <a:rPr lang="en-GB" noProof="0" dirty="0"/>
              <a:t>12345 City</a:t>
            </a:r>
          </a:p>
          <a:p>
            <a:pPr lvl="0"/>
            <a:r>
              <a:rPr lang="en-GB" noProof="0" dirty="0"/>
              <a:t>T +xx </a:t>
            </a:r>
            <a:r>
              <a:rPr lang="en-GB" noProof="0" dirty="0" err="1"/>
              <a:t>xxxx</a:t>
            </a:r>
            <a:r>
              <a:rPr lang="en-GB" noProof="0" dirty="0"/>
              <a:t> xxx-</a:t>
            </a:r>
            <a:r>
              <a:rPr lang="en-GB" noProof="0" dirty="0" err="1"/>
              <a:t>xxxx</a:t>
            </a:r>
            <a:br>
              <a:rPr lang="en-GB" noProof="0" dirty="0"/>
            </a:br>
            <a:r>
              <a:rPr lang="en-GB" noProof="0" dirty="0"/>
              <a:t>Firstname.Lastname@gft.com</a:t>
            </a:r>
          </a:p>
        </p:txBody>
      </p:sp>
      <p:sp>
        <p:nvSpPr>
          <p:cNvPr id="6" name="Textfeld 5"/>
          <p:cNvSpPr txBox="1">
            <a:spLocks/>
          </p:cNvSpPr>
          <p:nvPr userDrawn="1"/>
        </p:nvSpPr>
        <p:spPr bwMode="white">
          <a:xfrm>
            <a:off x="978102" y="663575"/>
            <a:ext cx="7191172" cy="1354217"/>
          </a:xfrm>
          <a:prstGeom prst="rect">
            <a:avLst/>
          </a:prstGeom>
          <a:noFill/>
        </p:spPr>
        <p:txBody>
          <a:bodyPr wrap="square" lIns="0" tIns="0" rIns="0" bIns="0" rtlCol="0">
            <a:spAutoFit/>
          </a:bodyPr>
          <a:lstStyle/>
          <a:p>
            <a:r>
              <a:rPr lang="en-GB" sz="4400" b="1" dirty="0">
                <a:solidFill>
                  <a:schemeClr val="bg1"/>
                </a:solidFill>
              </a:rPr>
              <a:t>Shaping the future </a:t>
            </a:r>
            <a:br>
              <a:rPr lang="en-GB" sz="4400" b="1" dirty="0">
                <a:solidFill>
                  <a:schemeClr val="bg1"/>
                </a:solidFill>
              </a:rPr>
            </a:br>
            <a:r>
              <a:rPr lang="en-GB" sz="4400" b="1" dirty="0">
                <a:solidFill>
                  <a:schemeClr val="bg1"/>
                </a:solidFill>
              </a:rPr>
              <a:t>of digital business </a:t>
            </a:r>
          </a:p>
        </p:txBody>
      </p:sp>
      <p:grpSp>
        <p:nvGrpSpPr>
          <p:cNvPr id="10" name="Gruppieren 9"/>
          <p:cNvGrpSpPr>
            <a:grpSpLocks/>
          </p:cNvGrpSpPr>
          <p:nvPr userDrawn="1"/>
        </p:nvGrpSpPr>
        <p:grpSpPr>
          <a:xfrm>
            <a:off x="7767501" y="106363"/>
            <a:ext cx="1193937" cy="221456"/>
            <a:chOff x="8174038" y="147638"/>
            <a:chExt cx="787400" cy="146050"/>
          </a:xfrm>
        </p:grpSpPr>
        <p:sp>
          <p:nvSpPr>
            <p:cNvPr id="11"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12"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4"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5"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6"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7"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5" name="Textfeld 4">
            <a:extLst>
              <a:ext uri="{FF2B5EF4-FFF2-40B4-BE49-F238E27FC236}">
                <a16:creationId xmlns:a16="http://schemas.microsoft.com/office/drawing/2014/main" id="{18FD79F5-D82C-4A5A-83AE-25567CB74020}"/>
              </a:ext>
            </a:extLst>
          </p:cNvPr>
          <p:cNvSpPr txBox="1">
            <a:spLocks/>
          </p:cNvSpPr>
          <p:nvPr userDrawn="1"/>
        </p:nvSpPr>
        <p:spPr>
          <a:xfrm>
            <a:off x="982662" y="5003805"/>
            <a:ext cx="7186612" cy="92333"/>
          </a:xfrm>
          <a:prstGeom prst="rect">
            <a:avLst/>
          </a:prstGeom>
          <a:noFill/>
        </p:spPr>
        <p:txBody>
          <a:bodyPr wrap="square" lIns="0" tIns="0" rIns="0" bIns="0" rtlCol="0">
            <a:spAutoFit/>
          </a:bodyPr>
          <a:lstStyle/>
          <a:p>
            <a:r>
              <a:rPr lang="en-US" sz="600" b="1"/>
              <a:t>© 2019 | GFT Technologies SE and its affiliates. All rights reserved.</a:t>
            </a:r>
            <a:endParaRPr lang="en-GB" sz="600" b="1" dirty="0"/>
          </a:p>
        </p:txBody>
      </p:sp>
    </p:spTree>
    <p:custDataLst>
      <p:tags r:id="rId1"/>
    </p:custDataLst>
    <p:extLst>
      <p:ext uri="{BB962C8B-B14F-4D97-AF65-F5344CB8AC3E}">
        <p14:creationId xmlns:p14="http://schemas.microsoft.com/office/powerpoint/2010/main" val="33053491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Headline and text grey">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el 10"/>
          <p:cNvSpPr>
            <a:spLocks noGrp="1"/>
          </p:cNvSpPr>
          <p:nvPr>
            <p:ph type="title" hasCustomPrompt="1"/>
          </p:nvPr>
        </p:nvSpPr>
        <p:spPr/>
        <p:txBody>
          <a:bodyPr/>
          <a:lstStyle>
            <a:lvl1pPr>
              <a:defRPr/>
            </a:lvl1pPr>
          </a:lstStyle>
          <a:p>
            <a:r>
              <a:rPr lang="en-GB" dirty="0"/>
              <a:t>Headline</a:t>
            </a: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97B746A9-829D-4556-8B99-7D5473FFBD99}" type="datetime1">
              <a:rPr lang="en-GB" smtClean="0"/>
              <a:t>02/12/2021</a:t>
            </a:fld>
            <a:endParaRPr lang="en-GB" dirty="0"/>
          </a:p>
        </p:txBody>
      </p:sp>
      <p:sp>
        <p:nvSpPr>
          <p:cNvPr id="3" name="Textplatzhalter 2"/>
          <p:cNvSpPr>
            <a:spLocks noGrp="1"/>
          </p:cNvSpPr>
          <p:nvPr>
            <p:ph type="body" sz="quarter" idx="10" hasCustomPrompt="1"/>
          </p:nvPr>
        </p:nvSpPr>
        <p:spPr>
          <a:xfrm>
            <a:off x="977900" y="1573213"/>
            <a:ext cx="7191375" cy="1138773"/>
          </a:xfrm>
        </p:spPr>
        <p:txBody>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Tree>
    <p:custDataLst>
      <p:tags r:id="rId1"/>
    </p:custDataLst>
    <p:extLst>
      <p:ext uri="{BB962C8B-B14F-4D97-AF65-F5344CB8AC3E}">
        <p14:creationId xmlns:p14="http://schemas.microsoft.com/office/powerpoint/2010/main" val="32039959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Headline and text grey">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el 10"/>
          <p:cNvSpPr>
            <a:spLocks noGrp="1"/>
          </p:cNvSpPr>
          <p:nvPr>
            <p:ph type="title" hasCustomPrompt="1"/>
          </p:nvPr>
        </p:nvSpPr>
        <p:spPr/>
        <p:txBody>
          <a:bodyPr/>
          <a:lstStyle>
            <a:lvl1pPr>
              <a:defRPr/>
            </a:lvl1pPr>
          </a:lstStyle>
          <a:p>
            <a:r>
              <a:rPr lang="en-GB" dirty="0"/>
              <a:t>Headline</a:t>
            </a: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97B746A9-829D-4556-8B99-7D5473FFBD99}" type="datetime1">
              <a:rPr lang="en-GB" smtClean="0"/>
              <a:t>02/12/2021</a:t>
            </a:fld>
            <a:endParaRPr lang="en-GB" dirty="0"/>
          </a:p>
        </p:txBody>
      </p:sp>
      <p:sp>
        <p:nvSpPr>
          <p:cNvPr id="3" name="Textplatzhalter 2"/>
          <p:cNvSpPr>
            <a:spLocks noGrp="1"/>
          </p:cNvSpPr>
          <p:nvPr>
            <p:ph type="body" sz="quarter" idx="10" hasCustomPrompt="1"/>
          </p:nvPr>
        </p:nvSpPr>
        <p:spPr>
          <a:xfrm>
            <a:off x="977900" y="1573213"/>
            <a:ext cx="7191375" cy="1138773"/>
          </a:xfrm>
        </p:spPr>
        <p:txBody>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Tree>
    <p:custDataLst>
      <p:tags r:id="rId1"/>
    </p:custDataLst>
    <p:extLst>
      <p:ext uri="{BB962C8B-B14F-4D97-AF65-F5344CB8AC3E}">
        <p14:creationId xmlns:p14="http://schemas.microsoft.com/office/powerpoint/2010/main" val="10515969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Headline and text grey">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el 10"/>
          <p:cNvSpPr>
            <a:spLocks noGrp="1"/>
          </p:cNvSpPr>
          <p:nvPr>
            <p:ph type="title" hasCustomPrompt="1"/>
          </p:nvPr>
        </p:nvSpPr>
        <p:spPr/>
        <p:txBody>
          <a:bodyPr/>
          <a:lstStyle>
            <a:lvl1pPr>
              <a:defRPr/>
            </a:lvl1pPr>
          </a:lstStyle>
          <a:p>
            <a:r>
              <a:rPr lang="en-GB" dirty="0"/>
              <a:t>Headline</a:t>
            </a: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97B746A9-829D-4556-8B99-7D5473FFBD99}" type="datetime1">
              <a:rPr lang="en-GB" smtClean="0"/>
              <a:t>02/12/2021</a:t>
            </a:fld>
            <a:endParaRPr lang="en-GB" dirty="0"/>
          </a:p>
        </p:txBody>
      </p:sp>
      <p:sp>
        <p:nvSpPr>
          <p:cNvPr id="3" name="Textplatzhalter 2"/>
          <p:cNvSpPr>
            <a:spLocks noGrp="1"/>
          </p:cNvSpPr>
          <p:nvPr>
            <p:ph type="body" sz="quarter" idx="10" hasCustomPrompt="1"/>
          </p:nvPr>
        </p:nvSpPr>
        <p:spPr>
          <a:xfrm>
            <a:off x="977900" y="1573213"/>
            <a:ext cx="7191375" cy="1138773"/>
          </a:xfrm>
        </p:spPr>
        <p:txBody>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Tree>
    <p:custDataLst>
      <p:tags r:id="rId1"/>
    </p:custDataLst>
    <p:extLst>
      <p:ext uri="{BB962C8B-B14F-4D97-AF65-F5344CB8AC3E}">
        <p14:creationId xmlns:p14="http://schemas.microsoft.com/office/powerpoint/2010/main" val="6450868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Headline and text grey">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el 10"/>
          <p:cNvSpPr>
            <a:spLocks noGrp="1"/>
          </p:cNvSpPr>
          <p:nvPr>
            <p:ph type="title" hasCustomPrompt="1"/>
          </p:nvPr>
        </p:nvSpPr>
        <p:spPr/>
        <p:txBody>
          <a:bodyPr/>
          <a:lstStyle>
            <a:lvl1pPr>
              <a:defRPr/>
            </a:lvl1pPr>
          </a:lstStyle>
          <a:p>
            <a:r>
              <a:rPr lang="en-GB" dirty="0"/>
              <a:t>Headline</a:t>
            </a: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97B746A9-829D-4556-8B99-7D5473FFBD99}" type="datetime1">
              <a:rPr lang="en-GB" smtClean="0"/>
              <a:t>02/12/2021</a:t>
            </a:fld>
            <a:endParaRPr lang="en-GB" dirty="0"/>
          </a:p>
        </p:txBody>
      </p:sp>
      <p:sp>
        <p:nvSpPr>
          <p:cNvPr id="3" name="Textplatzhalter 2"/>
          <p:cNvSpPr>
            <a:spLocks noGrp="1"/>
          </p:cNvSpPr>
          <p:nvPr>
            <p:ph type="body" sz="quarter" idx="10" hasCustomPrompt="1"/>
          </p:nvPr>
        </p:nvSpPr>
        <p:spPr>
          <a:xfrm>
            <a:off x="977900" y="1573213"/>
            <a:ext cx="7191375" cy="1138773"/>
          </a:xfrm>
        </p:spPr>
        <p:txBody>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Tree>
    <p:custDataLst>
      <p:tags r:id="rId1"/>
    </p:custDataLst>
    <p:extLst>
      <p:ext uri="{BB962C8B-B14F-4D97-AF65-F5344CB8AC3E}">
        <p14:creationId xmlns:p14="http://schemas.microsoft.com/office/powerpoint/2010/main" val="29616039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Headline and text grey">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el 10"/>
          <p:cNvSpPr>
            <a:spLocks noGrp="1"/>
          </p:cNvSpPr>
          <p:nvPr>
            <p:ph type="title" hasCustomPrompt="1"/>
          </p:nvPr>
        </p:nvSpPr>
        <p:spPr/>
        <p:txBody>
          <a:bodyPr/>
          <a:lstStyle>
            <a:lvl1pPr>
              <a:defRPr/>
            </a:lvl1pPr>
          </a:lstStyle>
          <a:p>
            <a:r>
              <a:rPr lang="en-GB" dirty="0"/>
              <a:t>Headline</a:t>
            </a: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97B746A9-829D-4556-8B99-7D5473FFBD99}" type="datetime1">
              <a:rPr lang="en-GB" smtClean="0"/>
              <a:t>02/12/2021</a:t>
            </a:fld>
            <a:endParaRPr lang="en-GB" dirty="0"/>
          </a:p>
        </p:txBody>
      </p:sp>
      <p:sp>
        <p:nvSpPr>
          <p:cNvPr id="3" name="Textplatzhalter 2"/>
          <p:cNvSpPr>
            <a:spLocks noGrp="1"/>
          </p:cNvSpPr>
          <p:nvPr>
            <p:ph type="body" sz="quarter" idx="10" hasCustomPrompt="1"/>
          </p:nvPr>
        </p:nvSpPr>
        <p:spPr>
          <a:xfrm>
            <a:off x="977900" y="1573213"/>
            <a:ext cx="7191375" cy="1138773"/>
          </a:xfrm>
        </p:spPr>
        <p:txBody>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Tree>
    <p:custDataLst>
      <p:tags r:id="rId1"/>
    </p:custDataLst>
    <p:extLst>
      <p:ext uri="{BB962C8B-B14F-4D97-AF65-F5344CB8AC3E}">
        <p14:creationId xmlns:p14="http://schemas.microsoft.com/office/powerpoint/2010/main" val="35014122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6_Headline and text grey">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el 10"/>
          <p:cNvSpPr>
            <a:spLocks noGrp="1"/>
          </p:cNvSpPr>
          <p:nvPr>
            <p:ph type="title" hasCustomPrompt="1"/>
          </p:nvPr>
        </p:nvSpPr>
        <p:spPr/>
        <p:txBody>
          <a:bodyPr/>
          <a:lstStyle>
            <a:lvl1pPr>
              <a:defRPr/>
            </a:lvl1pPr>
          </a:lstStyle>
          <a:p>
            <a:r>
              <a:rPr lang="en-GB" dirty="0"/>
              <a:t>Headline</a:t>
            </a: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97B746A9-829D-4556-8B99-7D5473FFBD99}" type="datetime1">
              <a:rPr lang="en-GB" smtClean="0"/>
              <a:t>02/12/2021</a:t>
            </a:fld>
            <a:endParaRPr lang="en-GB" dirty="0"/>
          </a:p>
        </p:txBody>
      </p:sp>
      <p:sp>
        <p:nvSpPr>
          <p:cNvPr id="3" name="Textplatzhalter 2"/>
          <p:cNvSpPr>
            <a:spLocks noGrp="1"/>
          </p:cNvSpPr>
          <p:nvPr>
            <p:ph type="body" sz="quarter" idx="10" hasCustomPrompt="1"/>
          </p:nvPr>
        </p:nvSpPr>
        <p:spPr>
          <a:xfrm>
            <a:off x="977900" y="1573213"/>
            <a:ext cx="7191375" cy="1138773"/>
          </a:xfrm>
        </p:spPr>
        <p:txBody>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Tree>
    <p:custDataLst>
      <p:tags r:id="rId1"/>
    </p:custDataLst>
    <p:extLst>
      <p:ext uri="{BB962C8B-B14F-4D97-AF65-F5344CB8AC3E}">
        <p14:creationId xmlns:p14="http://schemas.microsoft.com/office/powerpoint/2010/main" val="10803266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slide with pictur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716614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13" name="Objek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B4531075-64B1-4530-AE96-AEA04B7E0CA7}"/>
              </a:ext>
            </a:extLst>
          </p:cNvPr>
          <p:cNvSpPr/>
          <p:nvPr userDrawn="1">
            <p:custDataLst>
              <p:tags r:id="rId3"/>
            </p:custDataLst>
          </p:nvPr>
        </p:nvSpPr>
        <p:spPr>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4400" b="1" i="0" baseline="0" dirty="0">
              <a:solidFill>
                <a:schemeClr val="tx1"/>
              </a:solidFill>
              <a:latin typeface="Arial" panose="020B0604020202020204" pitchFamily="34" charset="0"/>
              <a:ea typeface="Geneva"/>
              <a:cs typeface="+mj-cs"/>
              <a:sym typeface="Arial" panose="020B0604020202020204" pitchFamily="34" charset="0"/>
            </a:endParaRPr>
          </a:p>
        </p:txBody>
      </p:sp>
      <p:sp>
        <p:nvSpPr>
          <p:cNvPr id="3" name="Bildplatzhalter 2">
            <a:extLst>
              <a:ext uri="{FF2B5EF4-FFF2-40B4-BE49-F238E27FC236}">
                <a16:creationId xmlns:a16="http://schemas.microsoft.com/office/drawing/2014/main" id="{55E67CD1-BDEF-463A-B4CF-FBA9CA1FFEFA}"/>
              </a:ext>
            </a:extLst>
          </p:cNvPr>
          <p:cNvSpPr>
            <a:spLocks noGrp="1"/>
          </p:cNvSpPr>
          <p:nvPr>
            <p:ph type="pic" sz="quarter" idx="14" hasCustomPrompt="1"/>
          </p:nvPr>
        </p:nvSpPr>
        <p:spPr>
          <a:xfrm>
            <a:off x="188912" y="441325"/>
            <a:ext cx="8772526" cy="4519613"/>
          </a:xfrm>
          <a:solidFill>
            <a:schemeClr val="accent6"/>
          </a:solidFill>
        </p:spPr>
        <p:txBody>
          <a:bodyPr>
            <a:noAutofit/>
          </a:bodyPr>
          <a:lstStyle>
            <a:lvl1pPr marL="0" indent="0">
              <a:buNone/>
              <a:defRPr sz="1200">
                <a:solidFill>
                  <a:schemeClr val="bg1"/>
                </a:solidFill>
              </a:defRPr>
            </a:lvl1pPr>
          </a:lstStyle>
          <a:p>
            <a:r>
              <a:rPr lang="en-US" dirty="0"/>
              <a:t>Insert title picture from </a:t>
            </a:r>
            <a:r>
              <a:rPr lang="en-US" dirty="0" err="1"/>
              <a:t>imagepack</a:t>
            </a:r>
            <a:endParaRPr lang="de-DE" dirty="0"/>
          </a:p>
        </p:txBody>
      </p:sp>
      <p:sp>
        <p:nvSpPr>
          <p:cNvPr id="9" name="Textplatzhalter 8"/>
          <p:cNvSpPr>
            <a:spLocks noGrp="1"/>
          </p:cNvSpPr>
          <p:nvPr>
            <p:ph type="body" sz="quarter" idx="13" hasCustomPrompt="1"/>
          </p:nvPr>
        </p:nvSpPr>
        <p:spPr bwMode="gray">
          <a:xfrm>
            <a:off x="982662" y="4162521"/>
            <a:ext cx="7186612" cy="193899"/>
          </a:xfrm>
        </p:spPr>
        <p:txBody>
          <a:bodyPr/>
          <a:lstStyle>
            <a:lvl1pPr marL="0" indent="0">
              <a:buNone/>
              <a:defRPr sz="1400" b="1" baseline="0">
                <a:solidFill>
                  <a:schemeClr val="bg1"/>
                </a:solidFill>
              </a:defRPr>
            </a:lvl1pPr>
          </a:lstStyle>
          <a:p>
            <a:pPr lvl="0"/>
            <a:r>
              <a:rPr lang="en-GB" dirty="0"/>
              <a:t>Author, date</a:t>
            </a:r>
          </a:p>
        </p:txBody>
      </p:sp>
      <p:sp>
        <p:nvSpPr>
          <p:cNvPr id="11" name="Titel 10"/>
          <p:cNvSpPr>
            <a:spLocks noGrp="1"/>
          </p:cNvSpPr>
          <p:nvPr>
            <p:ph type="title" hasCustomPrompt="1"/>
          </p:nvPr>
        </p:nvSpPr>
        <p:spPr bwMode="gray">
          <a:xfrm>
            <a:off x="978102" y="3486658"/>
            <a:ext cx="7185713" cy="541687"/>
          </a:xfrm>
        </p:spPr>
        <p:txBody>
          <a:bodyPr anchor="b"/>
          <a:lstStyle>
            <a:lvl1pPr>
              <a:lnSpc>
                <a:spcPct val="80000"/>
              </a:lnSpc>
              <a:defRPr sz="4400">
                <a:solidFill>
                  <a:schemeClr val="bg1"/>
                </a:solidFill>
              </a:defRPr>
            </a:lvl1pPr>
          </a:lstStyle>
          <a:p>
            <a:r>
              <a:rPr lang="en-GB" dirty="0"/>
              <a:t>Title of the presentation</a:t>
            </a:r>
          </a:p>
        </p:txBody>
      </p:sp>
      <p:grpSp>
        <p:nvGrpSpPr>
          <p:cNvPr id="8" name="Gruppieren 7"/>
          <p:cNvGrpSpPr/>
          <p:nvPr userDrawn="1"/>
        </p:nvGrpSpPr>
        <p:grpSpPr>
          <a:xfrm>
            <a:off x="7767501" y="106363"/>
            <a:ext cx="1193937" cy="221456"/>
            <a:chOff x="8174038" y="147638"/>
            <a:chExt cx="787400" cy="146050"/>
          </a:xfrm>
        </p:grpSpPr>
        <p:sp>
          <p:nvSpPr>
            <p:cNvPr id="1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12"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4"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5"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6"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7"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18" name="Textfeld 17">
            <a:extLst>
              <a:ext uri="{FF2B5EF4-FFF2-40B4-BE49-F238E27FC236}">
                <a16:creationId xmlns:a16="http://schemas.microsoft.com/office/drawing/2014/main" id="{0CBF6281-0A78-4575-8718-8837B62FBA32}"/>
              </a:ext>
            </a:extLst>
          </p:cNvPr>
          <p:cNvSpPr txBox="1">
            <a:spLocks/>
          </p:cNvSpPr>
          <p:nvPr userDrawn="1"/>
        </p:nvSpPr>
        <p:spPr>
          <a:xfrm>
            <a:off x="982662" y="5003805"/>
            <a:ext cx="7186612" cy="92333"/>
          </a:xfrm>
          <a:prstGeom prst="rect">
            <a:avLst/>
          </a:prstGeom>
          <a:noFill/>
        </p:spPr>
        <p:txBody>
          <a:bodyPr wrap="square" lIns="0" tIns="0" rIns="0" bIns="0" rtlCol="0">
            <a:spAutoFit/>
          </a:bodyPr>
          <a:lstStyle/>
          <a:p>
            <a:r>
              <a:rPr lang="en-US" sz="600" b="1"/>
              <a:t>© 2019 | GFT Technologies SE and its affiliates. All rights reserved.</a:t>
            </a:r>
            <a:endParaRPr lang="en-GB" sz="600" b="1" dirty="0"/>
          </a:p>
        </p:txBody>
      </p:sp>
    </p:spTree>
    <p:custDataLst>
      <p:tags r:id="rId1"/>
    </p:custDataLst>
    <p:extLst>
      <p:ext uri="{BB962C8B-B14F-4D97-AF65-F5344CB8AC3E}">
        <p14:creationId xmlns:p14="http://schemas.microsoft.com/office/powerpoint/2010/main" val="12957684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4672" name="Picture 96"/>
          <p:cNvPicPr>
            <a:picLocks noChangeAspect="1" noChangeArrowheads="1"/>
          </p:cNvPicPr>
          <p:nvPr userDrawn="1"/>
        </p:nvPicPr>
        <p:blipFill>
          <a:blip r:embed="rId6">
            <a:extLst>
              <a:ext uri="{28A0092B-C50C-407E-A947-70E740481C1C}">
                <a14:useLocalDpi xmlns:a14="http://schemas.microsoft.com/office/drawing/2010/main" val="0"/>
              </a:ext>
            </a:extLst>
          </a:blip>
          <a:stretch>
            <a:fillRect/>
          </a:stretch>
        </p:blipFill>
        <p:spPr bwMode="auto">
          <a:xfrm>
            <a:off x="188912" y="441325"/>
            <a:ext cx="8772525" cy="4519613"/>
          </a:xfrm>
          <a:prstGeom prst="rect">
            <a:avLst/>
          </a:prstGeom>
          <a:noFill/>
          <a:extLst>
            <a:ext uri="{909E8E84-426E-40DD-AFC4-6F175D3DCCD1}">
              <a14:hiddenFill xmlns:a14="http://schemas.microsoft.com/office/drawing/2010/main">
                <a:solidFill>
                  <a:srgbClr val="FFFFFF"/>
                </a:solidFill>
              </a14:hiddenFill>
            </a:ext>
          </a:extLst>
        </p:spPr>
      </p:pic>
      <p:sp>
        <p:nvSpPr>
          <p:cNvPr id="9" name="Textplatzhalter 8"/>
          <p:cNvSpPr>
            <a:spLocks noGrp="1"/>
          </p:cNvSpPr>
          <p:nvPr>
            <p:ph type="body" sz="quarter" idx="13" hasCustomPrompt="1"/>
          </p:nvPr>
        </p:nvSpPr>
        <p:spPr bwMode="gray">
          <a:xfrm>
            <a:off x="982662" y="4125566"/>
            <a:ext cx="7186612" cy="193899"/>
          </a:xfrm>
        </p:spPr>
        <p:txBody>
          <a:bodyPr/>
          <a:lstStyle>
            <a:lvl1pPr marL="0" indent="0">
              <a:buNone/>
              <a:defRPr sz="1400" b="1" baseline="0">
                <a:solidFill>
                  <a:schemeClr val="bg1"/>
                </a:solidFill>
              </a:defRPr>
            </a:lvl1pPr>
          </a:lstStyle>
          <a:p>
            <a:pPr lvl="0"/>
            <a:r>
              <a:rPr lang="en-GB" dirty="0"/>
              <a:t>Author, date</a:t>
            </a:r>
          </a:p>
        </p:txBody>
      </p:sp>
      <p:sp>
        <p:nvSpPr>
          <p:cNvPr id="11" name="Titel 10"/>
          <p:cNvSpPr>
            <a:spLocks noGrp="1"/>
          </p:cNvSpPr>
          <p:nvPr>
            <p:ph type="title" hasCustomPrompt="1"/>
          </p:nvPr>
        </p:nvSpPr>
        <p:spPr bwMode="gray">
          <a:xfrm>
            <a:off x="978102" y="2661795"/>
            <a:ext cx="7185713" cy="1329595"/>
          </a:xfrm>
        </p:spPr>
        <p:txBody>
          <a:bodyPr anchor="b"/>
          <a:lstStyle>
            <a:lvl1pPr>
              <a:lnSpc>
                <a:spcPct val="80000"/>
              </a:lnSpc>
              <a:defRPr sz="5400">
                <a:solidFill>
                  <a:schemeClr val="bg1"/>
                </a:solidFill>
              </a:defRPr>
            </a:lvl1pPr>
          </a:lstStyle>
          <a:p>
            <a:r>
              <a:rPr lang="en-GB" dirty="0"/>
              <a:t>Title of the presentation</a:t>
            </a:r>
          </a:p>
        </p:txBody>
      </p:sp>
      <p:grpSp>
        <p:nvGrpSpPr>
          <p:cNvPr id="8" name="Gruppieren 7"/>
          <p:cNvGrpSpPr/>
          <p:nvPr userDrawn="1"/>
        </p:nvGrpSpPr>
        <p:grpSpPr>
          <a:xfrm>
            <a:off x="7767501" y="106363"/>
            <a:ext cx="1193937" cy="221456"/>
            <a:chOff x="8174038" y="147638"/>
            <a:chExt cx="787400" cy="146050"/>
          </a:xfrm>
        </p:grpSpPr>
        <p:sp>
          <p:nvSpPr>
            <p:cNvPr id="1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12"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4"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5"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6"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7"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2" name="Textfeld 1"/>
          <p:cNvSpPr txBox="1"/>
          <p:nvPr userDrawn="1"/>
        </p:nvSpPr>
        <p:spPr bwMode="white">
          <a:xfrm>
            <a:off x="4978399" y="4609128"/>
            <a:ext cx="3190876" cy="153888"/>
          </a:xfrm>
          <a:prstGeom prst="rect">
            <a:avLst/>
          </a:prstGeom>
          <a:noFill/>
        </p:spPr>
        <p:txBody>
          <a:bodyPr wrap="square" lIns="0" tIns="0" rIns="0" bIns="0" rtlCol="0" anchor="b">
            <a:spAutoFit/>
          </a:bodyPr>
          <a:lstStyle/>
          <a:p>
            <a:pPr algn="r"/>
            <a:r>
              <a:rPr lang="de-DE" sz="1000" kern="1200" dirty="0">
                <a:solidFill>
                  <a:schemeClr val="bg1"/>
                </a:solidFill>
                <a:effectLst/>
                <a:latin typeface="+mn-lt"/>
                <a:ea typeface="+mn-ea"/>
                <a:cs typeface="+mn-cs"/>
              </a:rPr>
              <a:t>INNOVATE. TRANSFORM. DELIVER.</a:t>
            </a:r>
            <a:endParaRPr lang="de-DE" sz="800" dirty="0">
              <a:solidFill>
                <a:schemeClr val="bg1"/>
              </a:solidFill>
            </a:endParaRPr>
          </a:p>
        </p:txBody>
      </p:sp>
    </p:spTree>
    <p:custDataLst>
      <p:tags r:id="rId1"/>
    </p:custDataLst>
    <p:extLst>
      <p:ext uri="{BB962C8B-B14F-4D97-AF65-F5344CB8AC3E}">
        <p14:creationId xmlns:p14="http://schemas.microsoft.com/office/powerpoint/2010/main" val="11945993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and text grey">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el 10"/>
          <p:cNvSpPr>
            <a:spLocks noGrp="1"/>
          </p:cNvSpPr>
          <p:nvPr>
            <p:ph type="title" hasCustomPrompt="1"/>
          </p:nvPr>
        </p:nvSpPr>
        <p:spPr/>
        <p:txBody>
          <a:bodyPr/>
          <a:lstStyle>
            <a:lvl1pPr>
              <a:defRPr/>
            </a:lvl1pPr>
          </a:lstStyle>
          <a:p>
            <a:r>
              <a:rPr lang="en-GB" dirty="0"/>
              <a:t>Headline</a:t>
            </a: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97B746A9-829D-4556-8B99-7D5473FFBD99}" type="datetime1">
              <a:rPr lang="en-GB" smtClean="0"/>
              <a:t>02/12/2021</a:t>
            </a:fld>
            <a:endParaRPr lang="en-GB" dirty="0"/>
          </a:p>
        </p:txBody>
      </p:sp>
      <p:sp>
        <p:nvSpPr>
          <p:cNvPr id="3" name="Textplatzhalter 2"/>
          <p:cNvSpPr>
            <a:spLocks noGrp="1"/>
          </p:cNvSpPr>
          <p:nvPr>
            <p:ph type="body" sz="quarter" idx="10" hasCustomPrompt="1"/>
          </p:nvPr>
        </p:nvSpPr>
        <p:spPr>
          <a:xfrm>
            <a:off x="977900" y="1573213"/>
            <a:ext cx="7191375" cy="1138773"/>
          </a:xfrm>
        </p:spPr>
        <p:txBody>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Tree>
    <p:custDataLst>
      <p:tags r:id="rId1"/>
    </p:custDataLst>
    <p:extLst>
      <p:ext uri="{BB962C8B-B14F-4D97-AF65-F5344CB8AC3E}">
        <p14:creationId xmlns:p14="http://schemas.microsoft.com/office/powerpoint/2010/main" val="28283263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line and text grey pattern">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Placeholder 10"/>
          <p:cNvPicPr>
            <a:picLocks noChangeAspect="1"/>
          </p:cNvPicPr>
          <p:nvPr userDrawn="1"/>
        </p:nvPicPr>
        <p:blipFill>
          <a:blip r:embed="rId6">
            <a:extLst>
              <a:ext uri="{28A0092B-C50C-407E-A947-70E740481C1C}">
                <a14:useLocalDpi xmlns:a14="http://schemas.microsoft.com/office/drawing/2010/main" val="0"/>
              </a:ext>
            </a:extLst>
          </a:blip>
          <a:srcRect t="103" b="103"/>
          <a:stretch>
            <a:fillRect/>
          </a:stretch>
        </p:blipFill>
        <p:spPr>
          <a:xfrm>
            <a:off x="186532" y="441325"/>
            <a:ext cx="8772525" cy="4519613"/>
          </a:xfrm>
          <a:prstGeom prst="rect">
            <a:avLst/>
          </a:prstGeom>
        </p:spPr>
      </p:pic>
      <p:sp>
        <p:nvSpPr>
          <p:cNvPr id="11" name="Titel 10"/>
          <p:cNvSpPr>
            <a:spLocks noGrp="1"/>
          </p:cNvSpPr>
          <p:nvPr>
            <p:ph type="title" hasCustomPrompt="1"/>
          </p:nvPr>
        </p:nvSpPr>
        <p:spPr/>
        <p:txBody>
          <a:bodyPr/>
          <a:lstStyle>
            <a:lvl1pPr>
              <a:defRPr/>
            </a:lvl1pPr>
          </a:lstStyle>
          <a:p>
            <a:r>
              <a:rPr lang="en-GB" dirty="0"/>
              <a:t>Headline</a:t>
            </a: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44EA994F-88FA-4BD3-978C-6AD03B53B5FB}" type="datetime1">
              <a:rPr lang="en-GB" smtClean="0"/>
              <a:t>02/12/2021</a:t>
            </a:fld>
            <a:endParaRPr lang="en-GB" dirty="0"/>
          </a:p>
        </p:txBody>
      </p:sp>
      <p:sp>
        <p:nvSpPr>
          <p:cNvPr id="3" name="Textplatzhalter 2"/>
          <p:cNvSpPr>
            <a:spLocks noGrp="1"/>
          </p:cNvSpPr>
          <p:nvPr>
            <p:ph type="body" sz="quarter" idx="10" hasCustomPrompt="1"/>
          </p:nvPr>
        </p:nvSpPr>
        <p:spPr>
          <a:xfrm>
            <a:off x="977900" y="1573213"/>
            <a:ext cx="7191375" cy="1138773"/>
          </a:xfrm>
        </p:spPr>
        <p:txBody>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Tree>
    <p:custDataLst>
      <p:tags r:id="rId1"/>
    </p:custDataLst>
    <p:extLst>
      <p:ext uri="{BB962C8B-B14F-4D97-AF65-F5344CB8AC3E}">
        <p14:creationId xmlns:p14="http://schemas.microsoft.com/office/powerpoint/2010/main" val="20017435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text light blu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186532" y="441325"/>
            <a:ext cx="8774906" cy="4519613"/>
          </a:xfrm>
          <a:prstGeom prst="rect">
            <a:avLst/>
          </a:prstGeom>
          <a:solidFill>
            <a:srgbClr val="E3F4FB"/>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endParaRPr>
          </a:p>
        </p:txBody>
      </p:sp>
      <p:sp>
        <p:nvSpPr>
          <p:cNvPr id="11" name="Titel 10"/>
          <p:cNvSpPr>
            <a:spLocks noGrp="1"/>
          </p:cNvSpPr>
          <p:nvPr>
            <p:ph type="title" hasCustomPrompt="1"/>
          </p:nvPr>
        </p:nvSpPr>
        <p:spPr/>
        <p:txBody>
          <a:bodyPr/>
          <a:lstStyle>
            <a:lvl1pPr>
              <a:defRPr/>
            </a:lvl1pPr>
          </a:lstStyle>
          <a:p>
            <a:r>
              <a:rPr lang="en-GB" dirty="0"/>
              <a:t>Headline</a:t>
            </a: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1C2BE046-B41A-4CDD-8EB2-1CDD566C49DE}" type="datetime1">
              <a:rPr lang="en-GB" smtClean="0"/>
              <a:t>02/12/2021</a:t>
            </a:fld>
            <a:endParaRPr lang="en-GB" dirty="0"/>
          </a:p>
        </p:txBody>
      </p:sp>
      <p:sp>
        <p:nvSpPr>
          <p:cNvPr id="3" name="Textplatzhalter 2"/>
          <p:cNvSpPr>
            <a:spLocks noGrp="1"/>
          </p:cNvSpPr>
          <p:nvPr>
            <p:ph type="body" sz="quarter" idx="10" hasCustomPrompt="1"/>
          </p:nvPr>
        </p:nvSpPr>
        <p:spPr>
          <a:xfrm>
            <a:off x="977900" y="1573213"/>
            <a:ext cx="7191375" cy="1138773"/>
          </a:xfrm>
        </p:spPr>
        <p:txBody>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Tree>
    <p:custDataLst>
      <p:tags r:id="rId1"/>
    </p:custDataLst>
    <p:extLst>
      <p:ext uri="{BB962C8B-B14F-4D97-AF65-F5344CB8AC3E}">
        <p14:creationId xmlns:p14="http://schemas.microsoft.com/office/powerpoint/2010/main" val="23818477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Placeholder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90232" y="441325"/>
            <a:ext cx="8765125" cy="4519613"/>
          </a:xfrm>
          <a:prstGeom prst="rect">
            <a:avLst/>
          </a:prstGeom>
        </p:spPr>
      </p:pic>
      <p:sp>
        <p:nvSpPr>
          <p:cNvPr id="12"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B459838F-2DA4-4276-A1A0-F66F77FB9225}" type="datetime1">
              <a:rPr lang="en-GB" smtClean="0"/>
              <a:t>02/12/2021</a:t>
            </a:fld>
            <a:endParaRPr lang="en-GB" dirty="0"/>
          </a:p>
        </p:txBody>
      </p:sp>
      <p:sp>
        <p:nvSpPr>
          <p:cNvPr id="4" name="Textplatzhalter 3"/>
          <p:cNvSpPr>
            <a:spLocks noGrp="1"/>
          </p:cNvSpPr>
          <p:nvPr>
            <p:ph type="body" sz="quarter" idx="13" hasCustomPrompt="1"/>
          </p:nvPr>
        </p:nvSpPr>
        <p:spPr>
          <a:xfrm>
            <a:off x="1364297" y="1573213"/>
            <a:ext cx="6804977" cy="1951303"/>
          </a:xfrm>
        </p:spPr>
        <p:txBody>
          <a:bodyPr/>
          <a:lstStyle>
            <a:lvl1pPr marL="358775" indent="-358775">
              <a:spcBef>
                <a:spcPts val="1200"/>
              </a:spcBef>
              <a:buFont typeface="+mj-lt"/>
              <a:buAutoNum type="arabicPeriod"/>
              <a:defRPr sz="2000" b="1" baseline="0"/>
            </a:lvl1pPr>
            <a:lvl2pPr marL="541338" indent="-182563">
              <a:defRPr/>
            </a:lvl2pPr>
          </a:lstStyle>
          <a:p>
            <a:pPr lvl="0"/>
            <a:r>
              <a:rPr lang="de-DE" dirty="0"/>
              <a:t>Agenda </a:t>
            </a:r>
            <a:r>
              <a:rPr lang="de-DE" dirty="0" err="1"/>
              <a:t>point</a:t>
            </a:r>
            <a:r>
              <a:rPr lang="de-DE" dirty="0"/>
              <a:t> 1</a:t>
            </a:r>
          </a:p>
          <a:p>
            <a:pPr lvl="1"/>
            <a:r>
              <a:rPr lang="de-DE" dirty="0"/>
              <a:t>Text</a:t>
            </a:r>
          </a:p>
          <a:p>
            <a:pPr lvl="1"/>
            <a:r>
              <a:rPr lang="de-DE" dirty="0"/>
              <a:t>Text</a:t>
            </a:r>
          </a:p>
          <a:p>
            <a:pPr lvl="1"/>
            <a:r>
              <a:rPr lang="de-DE" dirty="0"/>
              <a:t>Text</a:t>
            </a:r>
          </a:p>
          <a:p>
            <a:pPr lvl="0"/>
            <a:r>
              <a:rPr lang="de-DE" dirty="0"/>
              <a:t>Agenda </a:t>
            </a:r>
            <a:r>
              <a:rPr lang="de-DE" dirty="0" err="1"/>
              <a:t>point</a:t>
            </a:r>
            <a:r>
              <a:rPr lang="de-DE" dirty="0"/>
              <a:t> 2</a:t>
            </a:r>
          </a:p>
          <a:p>
            <a:pPr lvl="0"/>
            <a:r>
              <a:rPr lang="de-DE" dirty="0"/>
              <a:t>Agenda </a:t>
            </a:r>
            <a:r>
              <a:rPr lang="de-DE" dirty="0" err="1"/>
              <a:t>point</a:t>
            </a:r>
            <a:r>
              <a:rPr lang="de-DE" dirty="0"/>
              <a:t> 3</a:t>
            </a:r>
            <a:endParaRPr lang="en-GB" dirty="0"/>
          </a:p>
        </p:txBody>
      </p:sp>
      <p:sp>
        <p:nvSpPr>
          <p:cNvPr id="2" name="Rechteck 1"/>
          <p:cNvSpPr/>
          <p:nvPr userDrawn="1"/>
        </p:nvSpPr>
        <p:spPr>
          <a:xfrm>
            <a:off x="186532" y="441325"/>
            <a:ext cx="796131" cy="4519611"/>
          </a:xfrm>
          <a:prstGeom prst="rect">
            <a:avLst/>
          </a:prstGeom>
          <a:solidFill>
            <a:schemeClr val="accent1"/>
          </a:solidFill>
          <a:ln w="19050">
            <a:noFill/>
          </a:ln>
        </p:spPr>
        <p:txBody>
          <a:bodyPr vert="vert270" lIns="108000" tIns="108000" rIns="108000" bIns="108000" rtlCol="0" anchor="ctr">
            <a:noAutofit/>
          </a:bodyPr>
          <a:lstStyle/>
          <a:p>
            <a:pPr marR="0" lvl="0" indent="0" algn="ctr" defTabSz="685800" fontAlgn="base">
              <a:lnSpc>
                <a:spcPct val="90000"/>
              </a:lnSpc>
              <a:spcBef>
                <a:spcPts val="600"/>
              </a:spcBef>
              <a:spcAft>
                <a:spcPct val="0"/>
              </a:spcAft>
              <a:buClr>
                <a:srgbClr val="000000"/>
              </a:buClr>
              <a:buSzTx/>
              <a:buFont typeface="Wingdings" panose="05000000000000000000" pitchFamily="2" charset="2"/>
              <a:buNone/>
              <a:tabLst/>
            </a:pPr>
            <a:r>
              <a:rPr lang="de-DE" sz="3000" b="1" cap="none" baseline="0" dirty="0">
                <a:solidFill>
                  <a:schemeClr val="bg1"/>
                </a:solidFill>
                <a:ea typeface="Geneva" pitchFamily="-128" charset="-128"/>
              </a:rPr>
              <a:t>Agenda</a:t>
            </a:r>
          </a:p>
        </p:txBody>
      </p:sp>
    </p:spTree>
    <p:custDataLst>
      <p:tags r:id="rId1"/>
    </p:custDataLst>
    <p:extLst>
      <p:ext uri="{BB962C8B-B14F-4D97-AF65-F5344CB8AC3E}">
        <p14:creationId xmlns:p14="http://schemas.microsoft.com/office/powerpoint/2010/main" val="20571649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Grafik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86532" y="441325"/>
            <a:ext cx="8771419" cy="4522858"/>
          </a:xfrm>
          <a:prstGeom prst="rect">
            <a:avLst/>
          </a:prstGeom>
        </p:spPr>
      </p:pic>
      <p:sp>
        <p:nvSpPr>
          <p:cNvPr id="9" name="Textplatzhalter 8"/>
          <p:cNvSpPr>
            <a:spLocks noGrp="1"/>
          </p:cNvSpPr>
          <p:nvPr>
            <p:ph type="body" sz="quarter" idx="13" hasCustomPrompt="1"/>
          </p:nvPr>
        </p:nvSpPr>
        <p:spPr>
          <a:xfrm>
            <a:off x="982662" y="4125566"/>
            <a:ext cx="7186612" cy="193899"/>
          </a:xfrm>
        </p:spPr>
        <p:txBody>
          <a:bodyPr/>
          <a:lstStyle>
            <a:lvl1pPr marL="0" indent="0">
              <a:buNone/>
              <a:defRPr sz="1400" b="1"/>
            </a:lvl1pPr>
          </a:lstStyle>
          <a:p>
            <a:pPr lvl="0"/>
            <a:r>
              <a:rPr lang="en-GB" dirty="0"/>
              <a:t>Subhead</a:t>
            </a:r>
          </a:p>
        </p:txBody>
      </p:sp>
      <p:sp>
        <p:nvSpPr>
          <p:cNvPr id="11" name="Titel 10"/>
          <p:cNvSpPr>
            <a:spLocks noGrp="1"/>
          </p:cNvSpPr>
          <p:nvPr>
            <p:ph type="title" hasCustomPrompt="1"/>
          </p:nvPr>
        </p:nvSpPr>
        <p:spPr>
          <a:xfrm>
            <a:off x="978102" y="3326592"/>
            <a:ext cx="7185713" cy="664797"/>
          </a:xfrm>
        </p:spPr>
        <p:txBody>
          <a:bodyPr anchor="b">
            <a:spAutoFit/>
          </a:bodyPr>
          <a:lstStyle>
            <a:lvl1pPr>
              <a:lnSpc>
                <a:spcPct val="80000"/>
              </a:lnSpc>
              <a:defRPr sz="5400"/>
            </a:lvl1pPr>
          </a:lstStyle>
          <a:p>
            <a:r>
              <a:rPr lang="en-GB" dirty="0"/>
              <a:t>Headline</a:t>
            </a:r>
          </a:p>
        </p:txBody>
      </p:sp>
      <p:sp>
        <p:nvSpPr>
          <p:cNvPr id="7"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3BC03739-938B-4B70-881C-8A5793DC0CB1}" type="datetime1">
              <a:rPr lang="en-GB" smtClean="0"/>
              <a:t>02/12/2021</a:t>
            </a:fld>
            <a:endParaRPr lang="en-GB" dirty="0"/>
          </a:p>
        </p:txBody>
      </p:sp>
    </p:spTree>
    <p:custDataLst>
      <p:tags r:id="rId1"/>
    </p:custDataLst>
    <p:extLst>
      <p:ext uri="{BB962C8B-B14F-4D97-AF65-F5344CB8AC3E}">
        <p14:creationId xmlns:p14="http://schemas.microsoft.com/office/powerpoint/2010/main" val="40882467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ture 4 columns and tex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8" name="Objekt 1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el 5"/>
          <p:cNvSpPr>
            <a:spLocks noGrp="1"/>
          </p:cNvSpPr>
          <p:nvPr>
            <p:ph type="title" hasCustomPrompt="1"/>
          </p:nvPr>
        </p:nvSpPr>
        <p:spPr>
          <a:xfrm>
            <a:off x="3790949" y="663575"/>
            <a:ext cx="4372865" cy="332399"/>
          </a:xfrm>
        </p:spPr>
        <p:txBody>
          <a:bodyPr/>
          <a:lstStyle>
            <a:lvl1pPr>
              <a:defRPr sz="2400" b="1"/>
            </a:lvl1pPr>
          </a:lstStyle>
          <a:p>
            <a:r>
              <a:rPr lang="en-GB" dirty="0"/>
              <a:t>Headline</a:t>
            </a:r>
          </a:p>
        </p:txBody>
      </p:sp>
      <p:sp>
        <p:nvSpPr>
          <p:cNvPr id="15" name="Bildplatzhalter 14"/>
          <p:cNvSpPr>
            <a:spLocks noGrp="1"/>
          </p:cNvSpPr>
          <p:nvPr>
            <p:ph type="pic" sz="quarter" idx="14" hasCustomPrompt="1"/>
          </p:nvPr>
        </p:nvSpPr>
        <p:spPr>
          <a:xfrm>
            <a:off x="186532" y="441325"/>
            <a:ext cx="3185319" cy="4519612"/>
          </a:xfrm>
          <a:solidFill>
            <a:schemeClr val="accent5"/>
          </a:solidFill>
        </p:spPr>
        <p:txBody>
          <a:bodyPr>
            <a:noAutofit/>
          </a:bodyPr>
          <a:lstStyle>
            <a:lvl1pPr marL="0" indent="0">
              <a:buNone/>
              <a:defRPr>
                <a:solidFill>
                  <a:schemeClr val="bg1"/>
                </a:solidFill>
              </a:defRPr>
            </a:lvl1pPr>
          </a:lstStyle>
          <a:p>
            <a:r>
              <a:rPr lang="de-DE" dirty="0"/>
              <a:t>Picture</a:t>
            </a:r>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F5E015F9-9726-4F96-83F5-976CBB449D86}" type="datetime1">
              <a:rPr lang="en-GB" smtClean="0"/>
              <a:t>02/12/2021</a:t>
            </a:fld>
            <a:endParaRPr lang="en-GB" dirty="0"/>
          </a:p>
        </p:txBody>
      </p:sp>
      <p:sp>
        <p:nvSpPr>
          <p:cNvPr id="3" name="Textplatzhalter 2"/>
          <p:cNvSpPr>
            <a:spLocks noGrp="1"/>
          </p:cNvSpPr>
          <p:nvPr>
            <p:ph type="body" sz="quarter" idx="15" hasCustomPrompt="1"/>
          </p:nvPr>
        </p:nvSpPr>
        <p:spPr>
          <a:xfrm>
            <a:off x="3790950" y="1563152"/>
            <a:ext cx="4378326" cy="1138773"/>
          </a:xfrm>
        </p:spPr>
        <p:txBody>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Tree>
    <p:custDataLst>
      <p:tags r:id="rId1"/>
    </p:custDataLst>
    <p:extLst>
      <p:ext uri="{BB962C8B-B14F-4D97-AF65-F5344CB8AC3E}">
        <p14:creationId xmlns:p14="http://schemas.microsoft.com/office/powerpoint/2010/main" val="26949481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8 columns and tex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8" name="Objekt 1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Bildplatzhalter 14"/>
          <p:cNvSpPr>
            <a:spLocks noGrp="1"/>
          </p:cNvSpPr>
          <p:nvPr>
            <p:ph type="pic" sz="quarter" idx="14" hasCustomPrompt="1"/>
          </p:nvPr>
        </p:nvSpPr>
        <p:spPr>
          <a:xfrm>
            <a:off x="186532" y="441325"/>
            <a:ext cx="6380956" cy="4519613"/>
          </a:xfrm>
          <a:solidFill>
            <a:schemeClr val="accent5"/>
          </a:solidFill>
        </p:spPr>
        <p:txBody>
          <a:bodyPr>
            <a:noAutofit/>
          </a:bodyPr>
          <a:lstStyle>
            <a:lvl1pPr marL="0" indent="0">
              <a:buNone/>
              <a:defRPr>
                <a:solidFill>
                  <a:schemeClr val="bg1"/>
                </a:solidFill>
              </a:defRPr>
            </a:lvl1pPr>
          </a:lstStyle>
          <a:p>
            <a:r>
              <a:rPr lang="de-DE" dirty="0"/>
              <a:t>Picture</a:t>
            </a:r>
          </a:p>
        </p:txBody>
      </p:sp>
      <p:sp>
        <p:nvSpPr>
          <p:cNvPr id="6" name="Titel 5"/>
          <p:cNvSpPr>
            <a:spLocks noGrp="1"/>
          </p:cNvSpPr>
          <p:nvPr>
            <p:ph type="title" hasCustomPrompt="1"/>
          </p:nvPr>
        </p:nvSpPr>
        <p:spPr>
          <a:xfrm>
            <a:off x="6930391" y="663575"/>
            <a:ext cx="1648460" cy="332399"/>
          </a:xfrm>
        </p:spPr>
        <p:txBody>
          <a:bodyPr/>
          <a:lstStyle>
            <a:lvl1pPr>
              <a:defRPr sz="2400" b="1"/>
            </a:lvl1pPr>
          </a:lstStyle>
          <a:p>
            <a:r>
              <a:rPr lang="en-GB" dirty="0"/>
              <a:t>Headline</a:t>
            </a:r>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AD86D8F8-8CEB-4896-97E9-06B1E7DAECC7}" type="datetime1">
              <a:rPr lang="en-GB" smtClean="0"/>
              <a:t>02/12/2021</a:t>
            </a:fld>
            <a:endParaRPr lang="en-GB" dirty="0"/>
          </a:p>
        </p:txBody>
      </p:sp>
      <p:sp>
        <p:nvSpPr>
          <p:cNvPr id="3" name="Textplatzhalter 2"/>
          <p:cNvSpPr>
            <a:spLocks noGrp="1"/>
          </p:cNvSpPr>
          <p:nvPr>
            <p:ph type="body" sz="quarter" idx="15" hasCustomPrompt="1"/>
          </p:nvPr>
        </p:nvSpPr>
        <p:spPr>
          <a:xfrm>
            <a:off x="6930391" y="1573213"/>
            <a:ext cx="1648460" cy="1158875"/>
          </a:xfrm>
        </p:spPr>
        <p:txBody>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Tree>
    <p:custDataLst>
      <p:tags r:id="rId1"/>
    </p:custDataLst>
    <p:extLst>
      <p:ext uri="{BB962C8B-B14F-4D97-AF65-F5344CB8AC3E}">
        <p14:creationId xmlns:p14="http://schemas.microsoft.com/office/powerpoint/2010/main" val="42892201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icture 11 columns and text">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Bildplatzhalter 14"/>
          <p:cNvSpPr>
            <a:spLocks noGrp="1"/>
          </p:cNvSpPr>
          <p:nvPr>
            <p:ph type="pic" sz="quarter" idx="14" hasCustomPrompt="1"/>
          </p:nvPr>
        </p:nvSpPr>
        <p:spPr>
          <a:xfrm>
            <a:off x="186532" y="441325"/>
            <a:ext cx="8772525" cy="4519613"/>
          </a:xfrm>
          <a:solidFill>
            <a:schemeClr val="accent5"/>
          </a:solidFill>
        </p:spPr>
        <p:txBody>
          <a:bodyPr>
            <a:noAutofit/>
          </a:bodyPr>
          <a:lstStyle>
            <a:lvl1pPr marL="0" indent="0">
              <a:buNone/>
              <a:defRPr>
                <a:solidFill>
                  <a:schemeClr val="bg1"/>
                </a:solidFill>
              </a:defRPr>
            </a:lvl1pPr>
          </a:lstStyle>
          <a:p>
            <a:r>
              <a:rPr lang="de-DE" dirty="0"/>
              <a:t>Picture</a:t>
            </a:r>
          </a:p>
        </p:txBody>
      </p:sp>
      <p:sp>
        <p:nvSpPr>
          <p:cNvPr id="11" name="Titel 10"/>
          <p:cNvSpPr>
            <a:spLocks noGrp="1"/>
          </p:cNvSpPr>
          <p:nvPr>
            <p:ph type="title" hasCustomPrompt="1"/>
          </p:nvPr>
        </p:nvSpPr>
        <p:spPr>
          <a:xfrm>
            <a:off x="978102" y="3326592"/>
            <a:ext cx="7185713" cy="664797"/>
          </a:xfrm>
        </p:spPr>
        <p:txBody>
          <a:bodyPr anchor="b">
            <a:spAutoFit/>
          </a:bodyPr>
          <a:lstStyle>
            <a:lvl1pPr>
              <a:lnSpc>
                <a:spcPct val="80000"/>
              </a:lnSpc>
              <a:defRPr sz="5400"/>
            </a:lvl1pPr>
          </a:lstStyle>
          <a:p>
            <a:r>
              <a:rPr lang="en-GB" dirty="0"/>
              <a:t>Headline</a:t>
            </a: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686ECE82-D77B-422E-B017-D4C00C609D99}" type="datetime1">
              <a:rPr lang="en-GB" smtClean="0"/>
              <a:t>02/12/2021</a:t>
            </a:fld>
            <a:endParaRPr lang="en-GB" dirty="0"/>
          </a:p>
        </p:txBody>
      </p:sp>
    </p:spTree>
    <p:custDataLst>
      <p:tags r:id="rId1"/>
    </p:custDataLst>
    <p:extLst>
      <p:ext uri="{BB962C8B-B14F-4D97-AF65-F5344CB8AC3E}">
        <p14:creationId xmlns:p14="http://schemas.microsoft.com/office/powerpoint/2010/main" val="34030920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ture_headline and text 1">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Placeholder 6"/>
          <p:cNvPicPr>
            <a:picLocks noChangeAspect="1"/>
          </p:cNvPicPr>
          <p:nvPr userDrawn="1"/>
        </p:nvPicPr>
        <p:blipFill>
          <a:blip r:embed="rId6">
            <a:extLst>
              <a:ext uri="{28A0092B-C50C-407E-A947-70E740481C1C}">
                <a14:useLocalDpi xmlns:a14="http://schemas.microsoft.com/office/drawing/2010/main" val="0"/>
              </a:ext>
            </a:extLst>
          </a:blip>
          <a:srcRect t="103" b="103"/>
          <a:stretch>
            <a:fillRect/>
          </a:stretch>
        </p:blipFill>
        <p:spPr>
          <a:xfrm>
            <a:off x="186532" y="441325"/>
            <a:ext cx="8772525" cy="4519613"/>
          </a:xfrm>
          <a:prstGeom prst="rect">
            <a:avLst/>
          </a:prstGeom>
        </p:spPr>
      </p:pic>
      <p:sp>
        <p:nvSpPr>
          <p:cNvPr id="11" name="Titel 10"/>
          <p:cNvSpPr>
            <a:spLocks noGrp="1"/>
          </p:cNvSpPr>
          <p:nvPr>
            <p:ph type="title" hasCustomPrompt="1"/>
          </p:nvPr>
        </p:nvSpPr>
        <p:spPr/>
        <p:txBody>
          <a:bodyPr/>
          <a:lstStyle>
            <a:lvl1pPr>
              <a:defRPr>
                <a:solidFill>
                  <a:schemeClr val="tx1"/>
                </a:solidFill>
              </a:defRPr>
            </a:lvl1pPr>
          </a:lstStyle>
          <a:p>
            <a:r>
              <a:rPr lang="en-GB" dirty="0"/>
              <a:t>Headline</a:t>
            </a: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97B746A9-829D-4556-8B99-7D5473FFBD99}" type="datetime1">
              <a:rPr lang="en-GB" smtClean="0"/>
              <a:t>02/12/2021</a:t>
            </a:fld>
            <a:endParaRPr lang="en-GB" dirty="0"/>
          </a:p>
        </p:txBody>
      </p:sp>
      <p:sp>
        <p:nvSpPr>
          <p:cNvPr id="3" name="Textplatzhalter 2"/>
          <p:cNvSpPr>
            <a:spLocks noGrp="1"/>
          </p:cNvSpPr>
          <p:nvPr>
            <p:ph type="body" sz="quarter" idx="10" hasCustomPrompt="1"/>
          </p:nvPr>
        </p:nvSpPr>
        <p:spPr>
          <a:xfrm>
            <a:off x="977900" y="1573213"/>
            <a:ext cx="7191375" cy="1166473"/>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Tree>
    <p:custDataLst>
      <p:tags r:id="rId1"/>
    </p:custDataLst>
    <p:extLst>
      <p:ext uri="{BB962C8B-B14F-4D97-AF65-F5344CB8AC3E}">
        <p14:creationId xmlns:p14="http://schemas.microsoft.com/office/powerpoint/2010/main" val="31333431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line and text grey">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3657088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el 10"/>
          <p:cNvSpPr>
            <a:spLocks noGrp="1"/>
          </p:cNvSpPr>
          <p:nvPr>
            <p:ph type="title" hasCustomPrompt="1"/>
          </p:nvPr>
        </p:nvSpPr>
        <p:spPr/>
        <p:txBody>
          <a:bodyPr/>
          <a:lstStyle>
            <a:lvl1pPr>
              <a:defRPr/>
            </a:lvl1pPr>
          </a:lstStyle>
          <a:p>
            <a:r>
              <a:rPr lang="en-GB" dirty="0"/>
              <a:t>Headline</a:t>
            </a: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F083F41A-041A-4006-B4DB-57C47C38AE86}" type="datetime1">
              <a:rPr lang="en-GB" smtClean="0"/>
              <a:t>02/12/2021</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noAutofit/>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Textplatzhalter 4"/>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dirty="0"/>
              <a:t>Type here if </a:t>
            </a:r>
          </a:p>
          <a:p>
            <a:pPr lvl="0"/>
            <a:r>
              <a:rPr lang="en-US" dirty="0"/>
              <a:t>add info needed </a:t>
            </a:r>
          </a:p>
          <a:p>
            <a:pPr lvl="0"/>
            <a:r>
              <a:rPr lang="en-US" dirty="0"/>
              <a:t>for this slide</a:t>
            </a:r>
          </a:p>
        </p:txBody>
      </p:sp>
      <p:sp>
        <p:nvSpPr>
          <p:cNvPr id="2" name="Fußzeilenplatzhalter 1">
            <a:extLst>
              <a:ext uri="{FF2B5EF4-FFF2-40B4-BE49-F238E27FC236}">
                <a16:creationId xmlns:a16="http://schemas.microsoft.com/office/drawing/2014/main" id="{9870CD05-EA9F-401C-916E-99B020B20576}"/>
              </a:ext>
            </a:extLst>
          </p:cNvPr>
          <p:cNvSpPr>
            <a:spLocks noGrp="1"/>
          </p:cNvSpPr>
          <p:nvPr>
            <p:ph type="ftr" sz="quarter" idx="13"/>
          </p:nvPr>
        </p:nvSpPr>
        <p:spPr/>
        <p:txBody>
          <a:bodyPr/>
          <a:lstStyle/>
          <a:p>
            <a:r>
              <a:rPr lang="en-US"/>
              <a:t>Type here if  add info needed  for every slide</a:t>
            </a:r>
            <a:endParaRPr lang="en-US" dirty="0"/>
          </a:p>
        </p:txBody>
      </p:sp>
    </p:spTree>
    <p:custDataLst>
      <p:tags r:id="rId1"/>
    </p:custDataLst>
    <p:extLst>
      <p:ext uri="{BB962C8B-B14F-4D97-AF65-F5344CB8AC3E}">
        <p14:creationId xmlns:p14="http://schemas.microsoft.com/office/powerpoint/2010/main" val="18455306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icture_headline and text 2">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Placeholder 12"/>
          <p:cNvPicPr>
            <a:picLocks noChangeAspect="1"/>
          </p:cNvPicPr>
          <p:nvPr userDrawn="1"/>
        </p:nvPicPr>
        <p:blipFill>
          <a:blip r:embed="rId6">
            <a:extLst>
              <a:ext uri="{28A0092B-C50C-407E-A947-70E740481C1C}">
                <a14:useLocalDpi xmlns:a14="http://schemas.microsoft.com/office/drawing/2010/main" val="0"/>
              </a:ext>
            </a:extLst>
          </a:blip>
          <a:srcRect t="103" b="103"/>
          <a:stretch>
            <a:fillRect/>
          </a:stretch>
        </p:blipFill>
        <p:spPr>
          <a:xfrm>
            <a:off x="186532" y="441325"/>
            <a:ext cx="8772525" cy="4519613"/>
          </a:xfrm>
          <a:prstGeom prst="rect">
            <a:avLst/>
          </a:prstGeom>
        </p:spPr>
      </p:pic>
      <p:sp>
        <p:nvSpPr>
          <p:cNvPr id="11" name="Titel 10"/>
          <p:cNvSpPr>
            <a:spLocks noGrp="1"/>
          </p:cNvSpPr>
          <p:nvPr>
            <p:ph type="title" hasCustomPrompt="1"/>
          </p:nvPr>
        </p:nvSpPr>
        <p:spPr/>
        <p:txBody>
          <a:bodyPr/>
          <a:lstStyle>
            <a:lvl1pPr>
              <a:defRPr>
                <a:solidFill>
                  <a:schemeClr val="tx1"/>
                </a:solidFill>
              </a:defRPr>
            </a:lvl1pPr>
          </a:lstStyle>
          <a:p>
            <a:r>
              <a:rPr lang="en-GB" dirty="0"/>
              <a:t>Headline</a:t>
            </a: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97B746A9-829D-4556-8B99-7D5473FFBD99}" type="datetime1">
              <a:rPr lang="en-GB" smtClean="0"/>
              <a:t>02/12/2021</a:t>
            </a:fld>
            <a:endParaRPr lang="en-GB" dirty="0"/>
          </a:p>
        </p:txBody>
      </p:sp>
      <p:sp>
        <p:nvSpPr>
          <p:cNvPr id="3" name="Textplatzhalter 2"/>
          <p:cNvSpPr>
            <a:spLocks noGrp="1"/>
          </p:cNvSpPr>
          <p:nvPr>
            <p:ph type="body" sz="quarter" idx="10" hasCustomPrompt="1"/>
          </p:nvPr>
        </p:nvSpPr>
        <p:spPr>
          <a:xfrm>
            <a:off x="977900" y="1573213"/>
            <a:ext cx="7191375" cy="1166473"/>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Tree>
    <p:custDataLst>
      <p:tags r:id="rId1"/>
    </p:custDataLst>
    <p:extLst>
      <p:ext uri="{BB962C8B-B14F-4D97-AF65-F5344CB8AC3E}">
        <p14:creationId xmlns:p14="http://schemas.microsoft.com/office/powerpoint/2010/main" val="11482552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cture_headline and text 3">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Placeholder 10"/>
          <p:cNvPicPr>
            <a:picLocks noChangeAspect="1"/>
          </p:cNvPicPr>
          <p:nvPr userDrawn="1"/>
        </p:nvPicPr>
        <p:blipFill>
          <a:blip r:embed="rId6">
            <a:extLst>
              <a:ext uri="{28A0092B-C50C-407E-A947-70E740481C1C}">
                <a14:useLocalDpi xmlns:a14="http://schemas.microsoft.com/office/drawing/2010/main" val="0"/>
              </a:ext>
            </a:extLst>
          </a:blip>
          <a:srcRect t="103" b="103"/>
          <a:stretch>
            <a:fillRect/>
          </a:stretch>
        </p:blipFill>
        <p:spPr>
          <a:xfrm>
            <a:off x="186532" y="441325"/>
            <a:ext cx="8772525" cy="4519613"/>
          </a:xfrm>
          <a:prstGeom prst="rect">
            <a:avLst/>
          </a:prstGeom>
        </p:spPr>
      </p:pic>
      <p:sp>
        <p:nvSpPr>
          <p:cNvPr id="11" name="Titel 10"/>
          <p:cNvSpPr>
            <a:spLocks noGrp="1"/>
          </p:cNvSpPr>
          <p:nvPr>
            <p:ph type="title" hasCustomPrompt="1"/>
          </p:nvPr>
        </p:nvSpPr>
        <p:spPr/>
        <p:txBody>
          <a:bodyPr/>
          <a:lstStyle>
            <a:lvl1pPr>
              <a:defRPr>
                <a:solidFill>
                  <a:schemeClr val="tx1"/>
                </a:solidFill>
              </a:defRPr>
            </a:lvl1pPr>
          </a:lstStyle>
          <a:p>
            <a:r>
              <a:rPr lang="en-GB" dirty="0"/>
              <a:t>Headline</a:t>
            </a: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97B746A9-829D-4556-8B99-7D5473FFBD99}" type="datetime1">
              <a:rPr lang="en-GB" smtClean="0"/>
              <a:t>02/12/2021</a:t>
            </a:fld>
            <a:endParaRPr lang="en-GB" dirty="0"/>
          </a:p>
        </p:txBody>
      </p:sp>
      <p:sp>
        <p:nvSpPr>
          <p:cNvPr id="3" name="Textplatzhalter 2"/>
          <p:cNvSpPr>
            <a:spLocks noGrp="1"/>
          </p:cNvSpPr>
          <p:nvPr>
            <p:ph type="body" sz="quarter" idx="10" hasCustomPrompt="1"/>
          </p:nvPr>
        </p:nvSpPr>
        <p:spPr>
          <a:xfrm>
            <a:off x="977900" y="1573213"/>
            <a:ext cx="7191375" cy="1166473"/>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Tree>
    <p:custDataLst>
      <p:tags r:id="rId1"/>
    </p:custDataLst>
    <p:extLst>
      <p:ext uri="{BB962C8B-B14F-4D97-AF65-F5344CB8AC3E}">
        <p14:creationId xmlns:p14="http://schemas.microsoft.com/office/powerpoint/2010/main" val="31009209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Reference slide">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8" name="Objekt 1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hteck 14"/>
          <p:cNvSpPr/>
          <p:nvPr userDrawn="1"/>
        </p:nvSpPr>
        <p:spPr>
          <a:xfrm>
            <a:off x="186531" y="441325"/>
            <a:ext cx="3190081" cy="4519613"/>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noProof="0" dirty="0">
              <a:solidFill>
                <a:schemeClr val="tx1"/>
              </a:solidFill>
            </a:endParaRPr>
          </a:p>
        </p:txBody>
      </p:sp>
      <p:sp>
        <p:nvSpPr>
          <p:cNvPr id="6" name="Titel 5"/>
          <p:cNvSpPr>
            <a:spLocks noGrp="1"/>
          </p:cNvSpPr>
          <p:nvPr>
            <p:ph type="title" hasCustomPrompt="1"/>
          </p:nvPr>
        </p:nvSpPr>
        <p:spPr>
          <a:xfrm>
            <a:off x="186531" y="441324"/>
            <a:ext cx="3190079" cy="1131889"/>
          </a:xfrm>
          <a:noFill/>
        </p:spPr>
        <p:txBody>
          <a:bodyPr lIns="324000" tIns="198000" rIns="144000" bIns="144000">
            <a:noAutofit/>
          </a:bodyPr>
          <a:lstStyle>
            <a:lvl1pPr>
              <a:defRPr sz="1800" b="1">
                <a:solidFill>
                  <a:schemeClr val="bg1"/>
                </a:solidFill>
              </a:defRPr>
            </a:lvl1pPr>
          </a:lstStyle>
          <a:p>
            <a:r>
              <a:rPr lang="en-GB" noProof="0" dirty="0"/>
              <a:t>Headline</a:t>
            </a:r>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DB8E458E-AFF7-464B-AF56-DCDFE5132111}" type="datetime1">
              <a:rPr lang="en-GB" noProof="0" smtClean="0"/>
              <a:t>02/12/2021</a:t>
            </a:fld>
            <a:endParaRPr lang="en-GB" noProof="0" dirty="0"/>
          </a:p>
        </p:txBody>
      </p:sp>
      <p:sp>
        <p:nvSpPr>
          <p:cNvPr id="3" name="Textplatzhalter 2"/>
          <p:cNvSpPr>
            <a:spLocks noGrp="1"/>
          </p:cNvSpPr>
          <p:nvPr>
            <p:ph type="body" sz="quarter" idx="15" hasCustomPrompt="1"/>
          </p:nvPr>
        </p:nvSpPr>
        <p:spPr>
          <a:xfrm>
            <a:off x="3376612" y="441323"/>
            <a:ext cx="5584825" cy="1506538"/>
          </a:xfrm>
          <a:solidFill>
            <a:srgbClr val="E3F4FB"/>
          </a:solidFill>
        </p:spPr>
        <p:txBody>
          <a:bodyPr lIns="144000" tIns="198000" rIns="144000" bIns="72000">
            <a:noAutofit/>
          </a:bodyPr>
          <a:lstStyle>
            <a:lvl1pPr marL="0" indent="0">
              <a:spcBef>
                <a:spcPts val="300"/>
              </a:spcBef>
              <a:buNone/>
              <a:defRPr sz="1200" b="1" baseline="0">
                <a:solidFill>
                  <a:schemeClr val="accent2"/>
                </a:solidFill>
              </a:defRPr>
            </a:lvl1pPr>
            <a:lvl2pPr marL="182563" indent="-182563">
              <a:spcBef>
                <a:spcPts val="300"/>
              </a:spcBef>
              <a:defRPr sz="900"/>
            </a:lvl2pPr>
          </a:lstStyle>
          <a:p>
            <a:pPr lvl="0"/>
            <a:r>
              <a:rPr lang="en-GB" noProof="0" dirty="0"/>
              <a:t>The challenge</a:t>
            </a:r>
          </a:p>
          <a:p>
            <a:pPr lvl="1"/>
            <a:r>
              <a:rPr lang="en-GB" noProof="0" dirty="0"/>
              <a:t>Text</a:t>
            </a:r>
          </a:p>
        </p:txBody>
      </p:sp>
      <p:sp>
        <p:nvSpPr>
          <p:cNvPr id="4" name="Textplatzhalter 3"/>
          <p:cNvSpPr>
            <a:spLocks noGrp="1"/>
          </p:cNvSpPr>
          <p:nvPr>
            <p:ph type="body" sz="quarter" idx="16" hasCustomPrompt="1"/>
          </p:nvPr>
        </p:nvSpPr>
        <p:spPr>
          <a:xfrm>
            <a:off x="3376613" y="1947862"/>
            <a:ext cx="5584825" cy="1506538"/>
          </a:xfrm>
          <a:solidFill>
            <a:srgbClr val="E3F4FB"/>
          </a:solidFill>
        </p:spPr>
        <p:txBody>
          <a:bodyPr lIns="144000" tIns="198000" rIns="144000" bIns="72000">
            <a:noAutofit/>
          </a:bodyPr>
          <a:lstStyle>
            <a:lvl1pPr marL="0" indent="0">
              <a:spcBef>
                <a:spcPts val="300"/>
              </a:spcBef>
              <a:buNone/>
              <a:defRPr sz="1200" b="1">
                <a:solidFill>
                  <a:schemeClr val="accent2"/>
                </a:solidFill>
              </a:defRPr>
            </a:lvl1pPr>
            <a:lvl2pPr marL="182563" indent="-182563">
              <a:spcBef>
                <a:spcPts val="300"/>
              </a:spcBef>
              <a:defRPr sz="900"/>
            </a:lvl2pPr>
          </a:lstStyle>
          <a:p>
            <a:pPr lvl="0"/>
            <a:r>
              <a:rPr lang="en-GB" noProof="0" dirty="0"/>
              <a:t>The engagement</a:t>
            </a:r>
          </a:p>
          <a:p>
            <a:pPr lvl="1"/>
            <a:r>
              <a:rPr lang="en-GB" noProof="0" dirty="0"/>
              <a:t>Text</a:t>
            </a:r>
          </a:p>
        </p:txBody>
      </p:sp>
      <p:sp>
        <p:nvSpPr>
          <p:cNvPr id="7" name="Textplatzhalter 6"/>
          <p:cNvSpPr>
            <a:spLocks noGrp="1"/>
          </p:cNvSpPr>
          <p:nvPr>
            <p:ph type="body" sz="quarter" idx="17" hasCustomPrompt="1"/>
          </p:nvPr>
        </p:nvSpPr>
        <p:spPr>
          <a:xfrm>
            <a:off x="3376613" y="3454400"/>
            <a:ext cx="5584825" cy="1506538"/>
          </a:xfrm>
          <a:solidFill>
            <a:srgbClr val="E3F4FB"/>
          </a:solidFill>
        </p:spPr>
        <p:txBody>
          <a:bodyPr lIns="144000" tIns="198000" rIns="144000" bIns="72000">
            <a:noAutofit/>
          </a:bodyPr>
          <a:lstStyle>
            <a:lvl1pPr marL="0" indent="0">
              <a:spcBef>
                <a:spcPts val="300"/>
              </a:spcBef>
              <a:buNone/>
              <a:defRPr sz="1200" b="1">
                <a:solidFill>
                  <a:schemeClr val="accent2"/>
                </a:solidFill>
              </a:defRPr>
            </a:lvl1pPr>
            <a:lvl2pPr marL="182563" indent="-182563">
              <a:spcBef>
                <a:spcPts val="300"/>
              </a:spcBef>
              <a:defRPr sz="900"/>
            </a:lvl2pPr>
          </a:lstStyle>
          <a:p>
            <a:pPr lvl="0"/>
            <a:r>
              <a:rPr lang="en-GB" noProof="0" dirty="0"/>
              <a:t>The benefit</a:t>
            </a:r>
          </a:p>
          <a:p>
            <a:pPr lvl="1"/>
            <a:r>
              <a:rPr lang="en-GB" noProof="0" dirty="0"/>
              <a:t>Text</a:t>
            </a:r>
          </a:p>
        </p:txBody>
      </p:sp>
      <p:sp>
        <p:nvSpPr>
          <p:cNvPr id="11" name="Bildplatzhalter 10"/>
          <p:cNvSpPr>
            <a:spLocks noGrp="1"/>
          </p:cNvSpPr>
          <p:nvPr>
            <p:ph type="pic" sz="quarter" idx="19" hasCustomPrompt="1"/>
          </p:nvPr>
        </p:nvSpPr>
        <p:spPr>
          <a:xfrm>
            <a:off x="187325" y="1859280"/>
            <a:ext cx="3189288" cy="3101658"/>
          </a:xfrm>
        </p:spPr>
        <p:txBody>
          <a:bodyPr>
            <a:noAutofit/>
          </a:bodyPr>
          <a:lstStyle>
            <a:lvl1pPr marL="0" indent="0">
              <a:buNone/>
              <a:defRPr>
                <a:solidFill>
                  <a:schemeClr val="bg1"/>
                </a:solidFill>
              </a:defRPr>
            </a:lvl1pPr>
          </a:lstStyle>
          <a:p>
            <a:r>
              <a:rPr lang="en-GB" noProof="0" dirty="0"/>
              <a:t>Picture</a:t>
            </a:r>
          </a:p>
        </p:txBody>
      </p:sp>
      <p:sp>
        <p:nvSpPr>
          <p:cNvPr id="14" name="Textfeld 13"/>
          <p:cNvSpPr txBox="1"/>
          <p:nvPr userDrawn="1"/>
        </p:nvSpPr>
        <p:spPr>
          <a:xfrm>
            <a:off x="188912" y="1573213"/>
            <a:ext cx="3187697" cy="184666"/>
          </a:xfrm>
          <a:prstGeom prst="rect">
            <a:avLst/>
          </a:prstGeom>
          <a:noFill/>
        </p:spPr>
        <p:txBody>
          <a:bodyPr wrap="square" lIns="324000" tIns="0" rIns="144000" bIns="0" rtlCol="0">
            <a:spAutoFit/>
          </a:bodyPr>
          <a:lstStyle/>
          <a:p>
            <a:pPr lvl="0"/>
            <a:r>
              <a:rPr lang="en-GB" sz="1200" noProof="0" dirty="0">
                <a:solidFill>
                  <a:schemeClr val="bg1"/>
                </a:solidFill>
              </a:rPr>
              <a:t>Success story</a:t>
            </a:r>
          </a:p>
        </p:txBody>
      </p:sp>
    </p:spTree>
    <p:custDataLst>
      <p:tags r:id="rId1"/>
    </p:custDataLst>
    <p:extLst>
      <p:ext uri="{BB962C8B-B14F-4D97-AF65-F5344CB8AC3E}">
        <p14:creationId xmlns:p14="http://schemas.microsoft.com/office/powerpoint/2010/main" val="18051803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1794" name="Picture 50"/>
          <p:cNvPicPr>
            <a:picLocks noChangeAspect="1" noChangeArrowheads="1"/>
          </p:cNvPicPr>
          <p:nvPr userDrawn="1"/>
        </p:nvPicPr>
        <p:blipFill>
          <a:blip r:embed="rId6">
            <a:extLst>
              <a:ext uri="{28A0092B-C50C-407E-A947-70E740481C1C}">
                <a14:useLocalDpi xmlns:a14="http://schemas.microsoft.com/office/drawing/2010/main" val="0"/>
              </a:ext>
            </a:extLst>
          </a:blip>
          <a:stretch>
            <a:fillRect/>
          </a:stretch>
        </p:blipFill>
        <p:spPr bwMode="auto">
          <a:xfrm>
            <a:off x="188914" y="441325"/>
            <a:ext cx="8772524" cy="4519613"/>
          </a:xfrm>
          <a:prstGeom prst="rect">
            <a:avLst/>
          </a:prstGeom>
          <a:noFill/>
          <a:extLst>
            <a:ext uri="{909E8E84-426E-40DD-AFC4-6F175D3DCCD1}">
              <a14:hiddenFill xmlns:a14="http://schemas.microsoft.com/office/drawing/2010/main">
                <a:solidFill>
                  <a:srgbClr val="FFFFFF"/>
                </a:solidFill>
              </a14:hiddenFill>
            </a:ext>
          </a:extLst>
        </p:spPr>
      </p:pic>
      <p:sp>
        <p:nvSpPr>
          <p:cNvPr id="9" name="Textplatzhalter 8"/>
          <p:cNvSpPr>
            <a:spLocks noGrp="1"/>
          </p:cNvSpPr>
          <p:nvPr>
            <p:ph type="body" sz="quarter" idx="13" hasCustomPrompt="1"/>
          </p:nvPr>
        </p:nvSpPr>
        <p:spPr bwMode="gray">
          <a:xfrm>
            <a:off x="982662" y="2701925"/>
            <a:ext cx="7186612" cy="193899"/>
          </a:xfrm>
        </p:spPr>
        <p:txBody>
          <a:bodyPr anchor="t"/>
          <a:lstStyle>
            <a:lvl1pPr marL="0" indent="0">
              <a:buNone/>
              <a:defRPr sz="1400" b="1">
                <a:solidFill>
                  <a:schemeClr val="bg1"/>
                </a:solidFill>
              </a:defRPr>
            </a:lvl1pPr>
          </a:lstStyle>
          <a:p>
            <a:pPr lvl="0"/>
            <a:r>
              <a:rPr lang="en-GB" dirty="0"/>
              <a:t>Subhead</a:t>
            </a:r>
          </a:p>
        </p:txBody>
      </p:sp>
      <p:sp>
        <p:nvSpPr>
          <p:cNvPr id="7"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035D765D-43E5-4444-BDEA-8BB4B3D5FCB5}" type="datetime1">
              <a:rPr lang="en-GB" smtClean="0"/>
              <a:t>02/12/2021</a:t>
            </a:fld>
            <a:endParaRPr lang="en-GB" dirty="0"/>
          </a:p>
        </p:txBody>
      </p:sp>
      <p:sp>
        <p:nvSpPr>
          <p:cNvPr id="3" name="Textplatzhalter 2"/>
          <p:cNvSpPr>
            <a:spLocks noGrp="1"/>
          </p:cNvSpPr>
          <p:nvPr>
            <p:ph type="body" sz="quarter" idx="15" hasCustomPrompt="1"/>
          </p:nvPr>
        </p:nvSpPr>
        <p:spPr bwMode="gray">
          <a:xfrm>
            <a:off x="982662" y="3027095"/>
            <a:ext cx="7186612" cy="1123384"/>
          </a:xfrm>
        </p:spPr>
        <p:txBody>
          <a:bodyPr/>
          <a:lstStyle>
            <a:lvl1pPr marL="0" indent="0">
              <a:buNone/>
              <a:defRPr sz="1000" baseline="0">
                <a:solidFill>
                  <a:schemeClr val="bg1"/>
                </a:solidFill>
              </a:defRPr>
            </a:lvl1pPr>
            <a:lvl2pPr>
              <a:defRPr sz="1400"/>
            </a:lvl2pPr>
            <a:lvl3pPr>
              <a:defRPr sz="1400"/>
            </a:lvl3pPr>
            <a:lvl4pPr>
              <a:defRPr sz="1400"/>
            </a:lvl4pPr>
            <a:lvl5pPr>
              <a:defRPr sz="1400"/>
            </a:lvl5pPr>
          </a:lstStyle>
          <a:p>
            <a:pPr lvl="0"/>
            <a:r>
              <a:rPr lang="en-GB" noProof="0" dirty="0"/>
              <a:t>GFT …</a:t>
            </a:r>
            <a:br>
              <a:rPr lang="en-GB" noProof="0" dirty="0"/>
            </a:br>
            <a:r>
              <a:rPr lang="en-GB" noProof="0" dirty="0"/>
              <a:t>First name Last name</a:t>
            </a:r>
            <a:br>
              <a:rPr lang="en-GB" noProof="0" dirty="0"/>
            </a:br>
            <a:r>
              <a:rPr lang="en-GB" noProof="0" dirty="0"/>
              <a:t>Position</a:t>
            </a:r>
          </a:p>
          <a:p>
            <a:pPr lvl="0"/>
            <a:r>
              <a:rPr lang="en-GB" noProof="0" dirty="0"/>
              <a:t>Street address</a:t>
            </a:r>
            <a:br>
              <a:rPr lang="en-GB" noProof="0" dirty="0"/>
            </a:br>
            <a:r>
              <a:rPr lang="en-GB" noProof="0" dirty="0"/>
              <a:t>12345 City</a:t>
            </a:r>
          </a:p>
          <a:p>
            <a:pPr lvl="0"/>
            <a:r>
              <a:rPr lang="en-GB" noProof="0" dirty="0"/>
              <a:t>T +xx </a:t>
            </a:r>
            <a:r>
              <a:rPr lang="en-GB" noProof="0" dirty="0" err="1"/>
              <a:t>xxxx</a:t>
            </a:r>
            <a:r>
              <a:rPr lang="en-GB" noProof="0" dirty="0"/>
              <a:t> xxx-</a:t>
            </a:r>
            <a:r>
              <a:rPr lang="en-GB" noProof="0" dirty="0" err="1"/>
              <a:t>xxxx</a:t>
            </a:r>
            <a:br>
              <a:rPr lang="en-GB" noProof="0" dirty="0"/>
            </a:br>
            <a:r>
              <a:rPr lang="en-GB" noProof="0" dirty="0"/>
              <a:t>Firstname.Lastname@gft.com</a:t>
            </a:r>
          </a:p>
        </p:txBody>
      </p:sp>
      <p:sp>
        <p:nvSpPr>
          <p:cNvPr id="6" name="Textfeld 5"/>
          <p:cNvSpPr txBox="1">
            <a:spLocks/>
          </p:cNvSpPr>
          <p:nvPr userDrawn="1"/>
        </p:nvSpPr>
        <p:spPr bwMode="white">
          <a:xfrm>
            <a:off x="978102" y="663575"/>
            <a:ext cx="7191172" cy="1661993"/>
          </a:xfrm>
          <a:prstGeom prst="rect">
            <a:avLst/>
          </a:prstGeom>
          <a:noFill/>
        </p:spPr>
        <p:txBody>
          <a:bodyPr wrap="square" lIns="0" tIns="0" rIns="0" bIns="0" rtlCol="0">
            <a:spAutoFit/>
          </a:bodyPr>
          <a:lstStyle/>
          <a:p>
            <a:r>
              <a:rPr lang="en-GB" sz="5400" b="1" dirty="0">
                <a:solidFill>
                  <a:schemeClr val="bg1"/>
                </a:solidFill>
              </a:rPr>
              <a:t>Shaping the future </a:t>
            </a:r>
            <a:br>
              <a:rPr lang="en-GB" sz="5400" b="1" dirty="0">
                <a:solidFill>
                  <a:schemeClr val="bg1"/>
                </a:solidFill>
              </a:rPr>
            </a:br>
            <a:r>
              <a:rPr lang="en-GB" sz="5400" b="1" dirty="0">
                <a:solidFill>
                  <a:schemeClr val="bg1"/>
                </a:solidFill>
              </a:rPr>
              <a:t>of digital business </a:t>
            </a:r>
            <a:endParaRPr lang="de-DE" sz="5400" b="1" dirty="0">
              <a:solidFill>
                <a:schemeClr val="bg1"/>
              </a:solidFill>
            </a:endParaRPr>
          </a:p>
        </p:txBody>
      </p:sp>
    </p:spTree>
    <p:custDataLst>
      <p:tags r:id="rId1"/>
    </p:custDataLst>
    <p:extLst>
      <p:ext uri="{BB962C8B-B14F-4D97-AF65-F5344CB8AC3E}">
        <p14:creationId xmlns:p14="http://schemas.microsoft.com/office/powerpoint/2010/main" val="32839008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line and text light blu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7044457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186532" y="441325"/>
            <a:ext cx="8774906" cy="4519613"/>
          </a:xfrm>
          <a:prstGeom prst="rect">
            <a:avLst/>
          </a:prstGeom>
          <a:solidFill>
            <a:srgbClr val="E1EBF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endParaRPr>
          </a:p>
        </p:txBody>
      </p:sp>
      <p:sp>
        <p:nvSpPr>
          <p:cNvPr id="11" name="Titel 10"/>
          <p:cNvSpPr>
            <a:spLocks noGrp="1"/>
          </p:cNvSpPr>
          <p:nvPr>
            <p:ph type="title" hasCustomPrompt="1"/>
          </p:nvPr>
        </p:nvSpPr>
        <p:spPr/>
        <p:txBody>
          <a:bodyPr/>
          <a:lstStyle>
            <a:lvl1pPr>
              <a:defRPr/>
            </a:lvl1pPr>
          </a:lstStyle>
          <a:p>
            <a:r>
              <a:rPr lang="en-GB" dirty="0"/>
              <a:t>Headline</a:t>
            </a: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309C451E-D256-4A78-BC9F-20D1AF345EE3}" type="datetime1">
              <a:rPr lang="en-GB" smtClean="0"/>
              <a:t>02/12/2021</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noAutofit/>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Textplatzhalter 4">
            <a:extLst>
              <a:ext uri="{FF2B5EF4-FFF2-40B4-BE49-F238E27FC236}">
                <a16:creationId xmlns:a16="http://schemas.microsoft.com/office/drawing/2014/main" id="{54FA93F6-62E7-41DF-8661-4C3CF8F4CB7E}"/>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dirty="0"/>
              <a:t>Type here if </a:t>
            </a:r>
          </a:p>
          <a:p>
            <a:pPr lvl="0"/>
            <a:r>
              <a:rPr lang="en-US" dirty="0"/>
              <a:t>add info needed </a:t>
            </a:r>
          </a:p>
          <a:p>
            <a:pPr lvl="0"/>
            <a:r>
              <a:rPr lang="en-US" dirty="0"/>
              <a:t>for this slide</a:t>
            </a:r>
          </a:p>
        </p:txBody>
      </p:sp>
      <p:sp>
        <p:nvSpPr>
          <p:cNvPr id="2" name="Fußzeilenplatzhalter 1">
            <a:extLst>
              <a:ext uri="{FF2B5EF4-FFF2-40B4-BE49-F238E27FC236}">
                <a16:creationId xmlns:a16="http://schemas.microsoft.com/office/drawing/2014/main" id="{2EF12584-1E1D-4D71-86E5-BC9768D30C2A}"/>
              </a:ext>
            </a:extLst>
          </p:cNvPr>
          <p:cNvSpPr>
            <a:spLocks noGrp="1"/>
          </p:cNvSpPr>
          <p:nvPr>
            <p:ph type="ftr" sz="quarter" idx="13"/>
          </p:nvPr>
        </p:nvSpPr>
        <p:spPr/>
        <p:txBody>
          <a:bodyPr anchor="t"/>
          <a:lstStyle>
            <a:lvl1pPr>
              <a:defRPr>
                <a:solidFill>
                  <a:schemeClr val="bg1"/>
                </a:solidFill>
              </a:defRPr>
            </a:lvl1pPr>
          </a:lstStyle>
          <a:p>
            <a:r>
              <a:rPr lang="en-US" dirty="0"/>
              <a:t>Type here if  add info needed  for every slide</a:t>
            </a:r>
          </a:p>
        </p:txBody>
      </p:sp>
    </p:spTree>
    <p:custDataLst>
      <p:tags r:id="rId1"/>
    </p:custDataLst>
    <p:extLst>
      <p:ext uri="{BB962C8B-B14F-4D97-AF65-F5344CB8AC3E}">
        <p14:creationId xmlns:p14="http://schemas.microsoft.com/office/powerpoint/2010/main" val="1561473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line and text grey pattern">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9413554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Placeholder 10"/>
          <p:cNvPicPr>
            <a:picLocks noChangeAspect="1"/>
          </p:cNvPicPr>
          <p:nvPr userDrawn="1"/>
        </p:nvPicPr>
        <p:blipFill>
          <a:blip r:embed="rId6">
            <a:extLst>
              <a:ext uri="{28A0092B-C50C-407E-A947-70E740481C1C}">
                <a14:useLocalDpi xmlns:a14="http://schemas.microsoft.com/office/drawing/2010/main" val="0"/>
              </a:ext>
            </a:extLst>
          </a:blip>
          <a:srcRect t="103" b="103"/>
          <a:stretch>
            <a:fillRect/>
          </a:stretch>
        </p:blipFill>
        <p:spPr>
          <a:xfrm>
            <a:off x="186532" y="441325"/>
            <a:ext cx="8772525" cy="4519613"/>
          </a:xfrm>
          <a:prstGeom prst="rect">
            <a:avLst/>
          </a:prstGeom>
        </p:spPr>
      </p:pic>
      <p:sp>
        <p:nvSpPr>
          <p:cNvPr id="11" name="Titel 10"/>
          <p:cNvSpPr>
            <a:spLocks noGrp="1"/>
          </p:cNvSpPr>
          <p:nvPr>
            <p:ph type="title" hasCustomPrompt="1"/>
          </p:nvPr>
        </p:nvSpPr>
        <p:spPr/>
        <p:txBody>
          <a:bodyPr/>
          <a:lstStyle>
            <a:lvl1pPr>
              <a:defRPr/>
            </a:lvl1pPr>
          </a:lstStyle>
          <a:p>
            <a:r>
              <a:rPr lang="en-GB" dirty="0"/>
              <a:t>Headline</a:t>
            </a: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C0C9140A-8AD1-4D8E-9F46-B47E3C53E85F}" type="datetime1">
              <a:rPr lang="en-GB" smtClean="0"/>
              <a:t>02/12/2021</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spAutoFit/>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Textplatzhalter 4">
            <a:extLst>
              <a:ext uri="{FF2B5EF4-FFF2-40B4-BE49-F238E27FC236}">
                <a16:creationId xmlns:a16="http://schemas.microsoft.com/office/drawing/2014/main" id="{013F5E1D-85A9-4425-A8C9-CB60BF55C4BC}"/>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dirty="0"/>
              <a:t>Type here if </a:t>
            </a:r>
          </a:p>
          <a:p>
            <a:pPr lvl="0"/>
            <a:r>
              <a:rPr lang="en-US" dirty="0"/>
              <a:t>add info needed </a:t>
            </a:r>
          </a:p>
          <a:p>
            <a:pPr lvl="0"/>
            <a:r>
              <a:rPr lang="en-US" dirty="0"/>
              <a:t>for this slide</a:t>
            </a:r>
          </a:p>
        </p:txBody>
      </p:sp>
      <p:sp>
        <p:nvSpPr>
          <p:cNvPr id="2" name="Fußzeilenplatzhalter 1">
            <a:extLst>
              <a:ext uri="{FF2B5EF4-FFF2-40B4-BE49-F238E27FC236}">
                <a16:creationId xmlns:a16="http://schemas.microsoft.com/office/drawing/2014/main" id="{AD9D36D9-C156-418A-BE53-5B9A805CA312}"/>
              </a:ext>
            </a:extLst>
          </p:cNvPr>
          <p:cNvSpPr>
            <a:spLocks noGrp="1"/>
          </p:cNvSpPr>
          <p:nvPr>
            <p:ph type="ftr" sz="quarter" idx="13"/>
          </p:nvPr>
        </p:nvSpPr>
        <p:spPr/>
        <p:txBody>
          <a:bodyPr/>
          <a:lstStyle/>
          <a:p>
            <a:r>
              <a:rPr lang="en-US"/>
              <a:t>Type here if  add info needed  for every slide</a:t>
            </a:r>
            <a:endParaRPr lang="en-US" dirty="0"/>
          </a:p>
        </p:txBody>
      </p:sp>
    </p:spTree>
    <p:custDataLst>
      <p:tags r:id="rId1"/>
    </p:custDataLst>
    <p:extLst>
      <p:ext uri="{BB962C8B-B14F-4D97-AF65-F5344CB8AC3E}">
        <p14:creationId xmlns:p14="http://schemas.microsoft.com/office/powerpoint/2010/main" val="40276952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line and text with flexible backgroun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4686897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Bildplatzhalter 3"/>
          <p:cNvSpPr>
            <a:spLocks noGrp="1"/>
          </p:cNvSpPr>
          <p:nvPr>
            <p:ph type="pic" sz="quarter" idx="11" hasCustomPrompt="1"/>
          </p:nvPr>
        </p:nvSpPr>
        <p:spPr>
          <a:xfrm>
            <a:off x="188912" y="441325"/>
            <a:ext cx="8772525" cy="4519613"/>
          </a:xfrm>
          <a:solidFill>
            <a:schemeClr val="accent6"/>
          </a:solidFill>
        </p:spPr>
        <p:txBody>
          <a:bodyPr>
            <a:noAutofit/>
          </a:bodyPr>
          <a:lstStyle>
            <a:lvl1pPr marL="0" indent="0">
              <a:buNone/>
              <a:defRPr sz="1200">
                <a:solidFill>
                  <a:schemeClr val="bg1"/>
                </a:solidFill>
              </a:defRPr>
            </a:lvl1pPr>
          </a:lstStyle>
          <a:p>
            <a:r>
              <a:rPr lang="en-US" dirty="0"/>
              <a:t>Text slide! Only insert background visuals from </a:t>
            </a:r>
            <a:r>
              <a:rPr lang="en-US" dirty="0" err="1"/>
              <a:t>imagepack</a:t>
            </a:r>
            <a:endParaRPr lang="en-GB" dirty="0"/>
          </a:p>
        </p:txBody>
      </p:sp>
      <p:sp>
        <p:nvSpPr>
          <p:cNvPr id="11" name="Titel 10"/>
          <p:cNvSpPr>
            <a:spLocks noGrp="1"/>
          </p:cNvSpPr>
          <p:nvPr>
            <p:ph type="title" hasCustomPrompt="1"/>
          </p:nvPr>
        </p:nvSpPr>
        <p:spPr/>
        <p:txBody>
          <a:bodyPr/>
          <a:lstStyle>
            <a:lvl1pPr>
              <a:defRPr/>
            </a:lvl1pPr>
          </a:lstStyle>
          <a:p>
            <a:r>
              <a:rPr lang="en-GB" dirty="0"/>
              <a:t>Headline</a:t>
            </a: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882CB017-A8AC-4BBA-91DA-603FE15B45E8}" type="datetime1">
              <a:rPr lang="en-GB" smtClean="0"/>
              <a:t>02/12/2021</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platzhalter 4">
            <a:extLst>
              <a:ext uri="{FF2B5EF4-FFF2-40B4-BE49-F238E27FC236}">
                <a16:creationId xmlns:a16="http://schemas.microsoft.com/office/drawing/2014/main" id="{8F8833A2-98CC-4338-9C2C-393F15CE3DE8}"/>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dirty="0"/>
              <a:t>Type here if </a:t>
            </a:r>
          </a:p>
          <a:p>
            <a:pPr lvl="0"/>
            <a:r>
              <a:rPr lang="en-US" dirty="0"/>
              <a:t>add info needed </a:t>
            </a:r>
          </a:p>
          <a:p>
            <a:pPr lvl="0"/>
            <a:r>
              <a:rPr lang="en-US" dirty="0"/>
              <a:t>for this slide</a:t>
            </a:r>
          </a:p>
        </p:txBody>
      </p:sp>
      <p:sp>
        <p:nvSpPr>
          <p:cNvPr id="2" name="Fußzeilenplatzhalter 1">
            <a:extLst>
              <a:ext uri="{FF2B5EF4-FFF2-40B4-BE49-F238E27FC236}">
                <a16:creationId xmlns:a16="http://schemas.microsoft.com/office/drawing/2014/main" id="{D0C173FC-6BAA-449D-ADEC-1A647C3CD982}"/>
              </a:ext>
            </a:extLst>
          </p:cNvPr>
          <p:cNvSpPr>
            <a:spLocks noGrp="1"/>
          </p:cNvSpPr>
          <p:nvPr>
            <p:ph type="ftr" sz="quarter" idx="13"/>
          </p:nvPr>
        </p:nvSpPr>
        <p:spPr/>
        <p:txBody>
          <a:bodyPr/>
          <a:lstStyle/>
          <a:p>
            <a:r>
              <a:rPr lang="en-US"/>
              <a:t>Type here if  add info needed  for every slide</a:t>
            </a:r>
            <a:endParaRPr lang="en-US" dirty="0"/>
          </a:p>
        </p:txBody>
      </p:sp>
    </p:spTree>
    <p:custDataLst>
      <p:tags r:id="rId1"/>
    </p:custDataLst>
    <p:extLst>
      <p:ext uri="{BB962C8B-B14F-4D97-AF65-F5344CB8AC3E}">
        <p14:creationId xmlns:p14="http://schemas.microsoft.com/office/powerpoint/2010/main" val="19360707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4236913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Placeholder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90232" y="441325"/>
            <a:ext cx="8765125" cy="4519613"/>
          </a:xfrm>
          <a:prstGeom prst="rect">
            <a:avLst/>
          </a:prstGeom>
        </p:spPr>
      </p:pic>
      <p:sp>
        <p:nvSpPr>
          <p:cNvPr id="12"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47454CA1-7487-4C96-A3FB-BB48F2EF4CA4}" type="datetime1">
              <a:rPr lang="en-GB" smtClean="0"/>
              <a:t>02/12/2021</a:t>
            </a:fld>
            <a:endParaRPr lang="en-GB" dirty="0"/>
          </a:p>
        </p:txBody>
      </p:sp>
      <p:sp>
        <p:nvSpPr>
          <p:cNvPr id="4" name="Textplatzhalter 3"/>
          <p:cNvSpPr>
            <a:spLocks noGrp="1"/>
          </p:cNvSpPr>
          <p:nvPr>
            <p:ph type="body" sz="quarter" idx="13" hasCustomPrompt="1"/>
          </p:nvPr>
        </p:nvSpPr>
        <p:spPr>
          <a:xfrm>
            <a:off x="1783080" y="1767028"/>
            <a:ext cx="6386194" cy="1868204"/>
          </a:xfrm>
        </p:spPr>
        <p:txBody>
          <a:bodyPr anchor="ctr"/>
          <a:lstStyle>
            <a:lvl1pPr marL="358775" indent="-358775">
              <a:spcBef>
                <a:spcPts val="1200"/>
              </a:spcBef>
              <a:buFont typeface="+mj-lt"/>
              <a:buAutoNum type="arabicPeriod"/>
              <a:defRPr sz="2000" b="1" baseline="0"/>
            </a:lvl1pPr>
            <a:lvl2pPr marL="541338" indent="-182563">
              <a:defRPr/>
            </a:lvl2pPr>
          </a:lstStyle>
          <a:p>
            <a:pPr lvl="0"/>
            <a:r>
              <a:rPr lang="en-GB" dirty="0"/>
              <a:t>Agenda point 1</a:t>
            </a:r>
          </a:p>
          <a:p>
            <a:pPr lvl="1"/>
            <a:r>
              <a:rPr lang="en-GB" dirty="0"/>
              <a:t>Text</a:t>
            </a:r>
          </a:p>
          <a:p>
            <a:pPr lvl="1"/>
            <a:r>
              <a:rPr lang="en-GB" dirty="0"/>
              <a:t>Text</a:t>
            </a:r>
          </a:p>
          <a:p>
            <a:pPr lvl="1"/>
            <a:r>
              <a:rPr lang="en-GB" dirty="0"/>
              <a:t>Text</a:t>
            </a:r>
          </a:p>
          <a:p>
            <a:pPr lvl="0"/>
            <a:r>
              <a:rPr lang="en-GB" dirty="0"/>
              <a:t>Agenda point 2</a:t>
            </a:r>
          </a:p>
          <a:p>
            <a:pPr lvl="0"/>
            <a:r>
              <a:rPr lang="en-GB" dirty="0"/>
              <a:t>Agenda point 3</a:t>
            </a:r>
          </a:p>
        </p:txBody>
      </p:sp>
      <p:sp>
        <p:nvSpPr>
          <p:cNvPr id="2" name="Rechteck 1"/>
          <p:cNvSpPr/>
          <p:nvPr userDrawn="1"/>
        </p:nvSpPr>
        <p:spPr>
          <a:xfrm>
            <a:off x="188912" y="441325"/>
            <a:ext cx="787401" cy="4519611"/>
          </a:xfrm>
          <a:prstGeom prst="rect">
            <a:avLst/>
          </a:prstGeom>
          <a:solidFill>
            <a:schemeClr val="accent1"/>
          </a:solidFill>
          <a:ln w="19050">
            <a:noFill/>
          </a:ln>
        </p:spPr>
        <p:txBody>
          <a:bodyPr vert="vert270" lIns="108000" tIns="108000" rIns="108000" bIns="108000" rtlCol="0" anchor="ctr">
            <a:noAutofit/>
          </a:bodyPr>
          <a:lstStyle/>
          <a:p>
            <a:pPr marR="0" lvl="0" indent="0" algn="ctr" defTabSz="685800" fontAlgn="base">
              <a:lnSpc>
                <a:spcPct val="90000"/>
              </a:lnSpc>
              <a:spcBef>
                <a:spcPts val="600"/>
              </a:spcBef>
              <a:spcAft>
                <a:spcPct val="0"/>
              </a:spcAft>
              <a:buClr>
                <a:srgbClr val="000000"/>
              </a:buClr>
              <a:buSzTx/>
              <a:buFont typeface="Wingdings" panose="05000000000000000000" pitchFamily="2" charset="2"/>
              <a:buNone/>
              <a:tabLst/>
            </a:pPr>
            <a:r>
              <a:rPr lang="en-GB" sz="3000" b="1" cap="none" baseline="0" dirty="0">
                <a:solidFill>
                  <a:schemeClr val="bg1"/>
                </a:solidFill>
                <a:ea typeface="Geneva" pitchFamily="-128" charset="-128"/>
              </a:rPr>
              <a:t>Agenda</a:t>
            </a:r>
          </a:p>
        </p:txBody>
      </p:sp>
      <p:sp>
        <p:nvSpPr>
          <p:cNvPr id="9" name="Textplatzhalter 4">
            <a:extLst>
              <a:ext uri="{FF2B5EF4-FFF2-40B4-BE49-F238E27FC236}">
                <a16:creationId xmlns:a16="http://schemas.microsoft.com/office/drawing/2014/main" id="{8819F950-F663-403A-9D92-400A29458110}"/>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dirty="0"/>
              <a:t>Type here if </a:t>
            </a:r>
          </a:p>
          <a:p>
            <a:pPr lvl="0"/>
            <a:r>
              <a:rPr lang="en-US" dirty="0"/>
              <a:t>add info needed </a:t>
            </a:r>
          </a:p>
          <a:p>
            <a:pPr lvl="0"/>
            <a:r>
              <a:rPr lang="en-US" dirty="0"/>
              <a:t>for this slide</a:t>
            </a:r>
          </a:p>
        </p:txBody>
      </p:sp>
      <p:sp>
        <p:nvSpPr>
          <p:cNvPr id="3" name="Fußzeilenplatzhalter 2">
            <a:extLst>
              <a:ext uri="{FF2B5EF4-FFF2-40B4-BE49-F238E27FC236}">
                <a16:creationId xmlns:a16="http://schemas.microsoft.com/office/drawing/2014/main" id="{97DBE4AE-E329-4A81-A37F-04E2E1F0C9D9}"/>
              </a:ext>
            </a:extLst>
          </p:cNvPr>
          <p:cNvSpPr>
            <a:spLocks noGrp="1"/>
          </p:cNvSpPr>
          <p:nvPr>
            <p:ph type="ftr" sz="quarter" idx="14"/>
          </p:nvPr>
        </p:nvSpPr>
        <p:spPr>
          <a:xfrm>
            <a:off x="2579687" y="86336"/>
            <a:ext cx="1589189" cy="249299"/>
          </a:xfrm>
        </p:spPr>
        <p:txBody>
          <a:bodyPr/>
          <a:lstStyle>
            <a:lvl1pPr>
              <a:defRPr sz="1600">
                <a:solidFill>
                  <a:schemeClr val="tx1"/>
                </a:solidFill>
              </a:defRPr>
            </a:lvl1pPr>
          </a:lstStyle>
          <a:p>
            <a:r>
              <a:rPr lang="en-US" dirty="0"/>
              <a:t>EDEM 2021</a:t>
            </a:r>
          </a:p>
        </p:txBody>
      </p:sp>
      <p:cxnSp>
        <p:nvCxnSpPr>
          <p:cNvPr id="10" name="Straight Connector 7">
            <a:extLst>
              <a:ext uri="{FF2B5EF4-FFF2-40B4-BE49-F238E27FC236}">
                <a16:creationId xmlns:a16="http://schemas.microsoft.com/office/drawing/2014/main" id="{D71BFA04-319E-4EED-B315-8215AB0D230D}"/>
              </a:ext>
            </a:extLst>
          </p:cNvPr>
          <p:cNvCxnSpPr/>
          <p:nvPr userDrawn="1"/>
        </p:nvCxnSpPr>
        <p:spPr bwMode="gray">
          <a:xfrm flipH="1">
            <a:off x="948518" y="394705"/>
            <a:ext cx="0" cy="460910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1807503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9757782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Grafik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88912" y="441325"/>
            <a:ext cx="8771419" cy="4522858"/>
          </a:xfrm>
          <a:prstGeom prst="rect">
            <a:avLst/>
          </a:prstGeom>
        </p:spPr>
      </p:pic>
      <p:sp>
        <p:nvSpPr>
          <p:cNvPr id="9" name="Textplatzhalter 8"/>
          <p:cNvSpPr>
            <a:spLocks noGrp="1"/>
          </p:cNvSpPr>
          <p:nvPr>
            <p:ph type="body" sz="quarter" idx="13" hasCustomPrompt="1"/>
          </p:nvPr>
        </p:nvSpPr>
        <p:spPr>
          <a:xfrm>
            <a:off x="982662" y="4125566"/>
            <a:ext cx="7186612" cy="193899"/>
          </a:xfrm>
        </p:spPr>
        <p:txBody>
          <a:bodyPr/>
          <a:lstStyle>
            <a:lvl1pPr marL="0" indent="0">
              <a:buNone/>
              <a:defRPr sz="1400" b="1"/>
            </a:lvl1pPr>
          </a:lstStyle>
          <a:p>
            <a:pPr lvl="0"/>
            <a:r>
              <a:rPr lang="en-GB" dirty="0"/>
              <a:t>Subhead</a:t>
            </a:r>
          </a:p>
        </p:txBody>
      </p:sp>
      <p:sp>
        <p:nvSpPr>
          <p:cNvPr id="11" name="Titel 10"/>
          <p:cNvSpPr>
            <a:spLocks noGrp="1"/>
          </p:cNvSpPr>
          <p:nvPr>
            <p:ph type="title" hasCustomPrompt="1"/>
          </p:nvPr>
        </p:nvSpPr>
        <p:spPr>
          <a:xfrm>
            <a:off x="978102" y="3449702"/>
            <a:ext cx="7185713" cy="541687"/>
          </a:xfrm>
        </p:spPr>
        <p:txBody>
          <a:bodyPr anchor="b">
            <a:spAutoFit/>
          </a:bodyPr>
          <a:lstStyle>
            <a:lvl1pPr>
              <a:lnSpc>
                <a:spcPct val="80000"/>
              </a:lnSpc>
              <a:defRPr sz="4400"/>
            </a:lvl1pPr>
          </a:lstStyle>
          <a:p>
            <a:r>
              <a:rPr lang="en-GB" dirty="0"/>
              <a:t>Headline</a:t>
            </a:r>
          </a:p>
        </p:txBody>
      </p:sp>
      <p:sp>
        <p:nvSpPr>
          <p:cNvPr id="7"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DBEF86FA-B96D-4345-BDDC-824718EE4D18}" type="datetime1">
              <a:rPr lang="en-GB" smtClean="0"/>
              <a:t>02/12/2021</a:t>
            </a:fld>
            <a:endParaRPr lang="en-GB" dirty="0"/>
          </a:p>
        </p:txBody>
      </p:sp>
      <p:sp>
        <p:nvSpPr>
          <p:cNvPr id="10" name="Textplatzhalter 4">
            <a:extLst>
              <a:ext uri="{FF2B5EF4-FFF2-40B4-BE49-F238E27FC236}">
                <a16:creationId xmlns:a16="http://schemas.microsoft.com/office/drawing/2014/main" id="{8D0E2658-4090-408A-BE49-52E49D2719AA}"/>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dirty="0"/>
              <a:t>Type here if </a:t>
            </a:r>
          </a:p>
          <a:p>
            <a:pPr lvl="0"/>
            <a:r>
              <a:rPr lang="en-US" dirty="0"/>
              <a:t>add info needed </a:t>
            </a:r>
          </a:p>
          <a:p>
            <a:pPr lvl="0"/>
            <a:r>
              <a:rPr lang="en-US" dirty="0"/>
              <a:t>for this slide</a:t>
            </a:r>
          </a:p>
        </p:txBody>
      </p:sp>
      <p:sp>
        <p:nvSpPr>
          <p:cNvPr id="2" name="Fußzeilenplatzhalter 1">
            <a:extLst>
              <a:ext uri="{FF2B5EF4-FFF2-40B4-BE49-F238E27FC236}">
                <a16:creationId xmlns:a16="http://schemas.microsoft.com/office/drawing/2014/main" id="{3C8D4A77-C815-43A6-9465-EF3B0404BCFD}"/>
              </a:ext>
            </a:extLst>
          </p:cNvPr>
          <p:cNvSpPr>
            <a:spLocks noGrp="1"/>
          </p:cNvSpPr>
          <p:nvPr>
            <p:ph type="ftr" sz="quarter" idx="14"/>
          </p:nvPr>
        </p:nvSpPr>
        <p:spPr/>
        <p:txBody>
          <a:bodyPr/>
          <a:lstStyle>
            <a:lvl1pPr>
              <a:defRPr>
                <a:solidFill>
                  <a:schemeClr val="bg1"/>
                </a:solidFill>
              </a:defRPr>
            </a:lvl1pPr>
          </a:lstStyle>
          <a:p>
            <a:r>
              <a:rPr lang="en-US" dirty="0"/>
              <a:t>Type here if  add info needed  for every slide</a:t>
            </a:r>
          </a:p>
        </p:txBody>
      </p:sp>
    </p:spTree>
    <p:custDataLst>
      <p:tags r:id="rId1"/>
    </p:custDataLst>
    <p:extLst>
      <p:ext uri="{BB962C8B-B14F-4D97-AF65-F5344CB8AC3E}">
        <p14:creationId xmlns:p14="http://schemas.microsoft.com/office/powerpoint/2010/main" val="14319838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4 columns and tex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2"/>
            </p:custDataLst>
            <p:extLst>
              <p:ext uri="{D42A27DB-BD31-4B8C-83A1-F6EECF244321}">
                <p14:modId xmlns:p14="http://schemas.microsoft.com/office/powerpoint/2010/main" val="9694621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8" name="Objekt 1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el 5"/>
          <p:cNvSpPr>
            <a:spLocks noGrp="1"/>
          </p:cNvSpPr>
          <p:nvPr>
            <p:ph type="title" hasCustomPrompt="1"/>
          </p:nvPr>
        </p:nvSpPr>
        <p:spPr>
          <a:xfrm>
            <a:off x="3790949" y="633413"/>
            <a:ext cx="4372865" cy="276999"/>
          </a:xfrm>
        </p:spPr>
        <p:txBody>
          <a:bodyPr/>
          <a:lstStyle>
            <a:lvl1pPr>
              <a:defRPr sz="2000" b="1"/>
            </a:lvl1pPr>
          </a:lstStyle>
          <a:p>
            <a:r>
              <a:rPr lang="en-GB" dirty="0"/>
              <a:t>Headline</a:t>
            </a:r>
          </a:p>
        </p:txBody>
      </p:sp>
      <p:sp>
        <p:nvSpPr>
          <p:cNvPr id="15" name="Bildplatzhalter 14"/>
          <p:cNvSpPr>
            <a:spLocks noGrp="1"/>
          </p:cNvSpPr>
          <p:nvPr>
            <p:ph type="pic" sz="quarter" idx="14" hasCustomPrompt="1"/>
          </p:nvPr>
        </p:nvSpPr>
        <p:spPr>
          <a:xfrm>
            <a:off x="188914" y="441325"/>
            <a:ext cx="3125786" cy="4519612"/>
          </a:xfrm>
          <a:solidFill>
            <a:schemeClr val="accent6"/>
          </a:solidFill>
        </p:spPr>
        <p:txBody>
          <a:bodyPr>
            <a:noAutofit/>
          </a:bodyPr>
          <a:lstStyle>
            <a:lvl1pPr marL="0" indent="0">
              <a:buNone/>
              <a:defRPr sz="1200">
                <a:solidFill>
                  <a:schemeClr val="bg1"/>
                </a:solidFill>
              </a:defRPr>
            </a:lvl1pPr>
          </a:lstStyle>
          <a:p>
            <a:r>
              <a:rPr lang="en-US" dirty="0"/>
              <a:t>Insert 4-column picture from </a:t>
            </a:r>
            <a:r>
              <a:rPr lang="en-US" dirty="0" err="1"/>
              <a:t>imagepack</a:t>
            </a:r>
            <a:endParaRPr lang="en-US" dirty="0"/>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8859B784-B4DA-46A0-AE05-FF0B2630EAC9}" type="datetime1">
              <a:rPr lang="en-GB" smtClean="0"/>
              <a:t>02/12/2021</a:t>
            </a:fld>
            <a:endParaRPr lang="en-GB" dirty="0"/>
          </a:p>
        </p:txBody>
      </p:sp>
      <p:sp>
        <p:nvSpPr>
          <p:cNvPr id="3" name="Textplatzhalter 2"/>
          <p:cNvSpPr>
            <a:spLocks noGrp="1"/>
          </p:cNvSpPr>
          <p:nvPr>
            <p:ph type="body" sz="quarter" idx="15" hasCustomPrompt="1"/>
          </p:nvPr>
        </p:nvSpPr>
        <p:spPr>
          <a:xfrm>
            <a:off x="3790950" y="1264937"/>
            <a:ext cx="4378326" cy="1166473"/>
          </a:xfrm>
        </p:spPr>
        <p:txBody>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Textplatzhalter 4">
            <a:extLst>
              <a:ext uri="{FF2B5EF4-FFF2-40B4-BE49-F238E27FC236}">
                <a16:creationId xmlns:a16="http://schemas.microsoft.com/office/drawing/2014/main" id="{7B95DE6E-87AD-42F6-8B4E-274F5A3E0C7A}"/>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dirty="0"/>
              <a:t>Type here if </a:t>
            </a:r>
          </a:p>
          <a:p>
            <a:pPr lvl="0"/>
            <a:r>
              <a:rPr lang="en-US" dirty="0"/>
              <a:t>add info needed </a:t>
            </a:r>
          </a:p>
          <a:p>
            <a:pPr lvl="0"/>
            <a:r>
              <a:rPr lang="en-US" dirty="0"/>
              <a:t>for this slide</a:t>
            </a:r>
          </a:p>
        </p:txBody>
      </p:sp>
      <p:sp>
        <p:nvSpPr>
          <p:cNvPr id="2" name="Fußzeilenplatzhalter 1">
            <a:extLst>
              <a:ext uri="{FF2B5EF4-FFF2-40B4-BE49-F238E27FC236}">
                <a16:creationId xmlns:a16="http://schemas.microsoft.com/office/drawing/2014/main" id="{655E8B99-32D4-4B43-B94C-5FF82078D810}"/>
              </a:ext>
            </a:extLst>
          </p:cNvPr>
          <p:cNvSpPr>
            <a:spLocks noGrp="1"/>
          </p:cNvSpPr>
          <p:nvPr>
            <p:ph type="ftr" sz="quarter" idx="16"/>
          </p:nvPr>
        </p:nvSpPr>
        <p:spPr/>
        <p:txBody>
          <a:bodyPr/>
          <a:lstStyle/>
          <a:p>
            <a:r>
              <a:rPr lang="en-US"/>
              <a:t>Type here if  add info needed  for every slide</a:t>
            </a:r>
            <a:endParaRPr lang="en-US" dirty="0"/>
          </a:p>
        </p:txBody>
      </p:sp>
      <p:cxnSp>
        <p:nvCxnSpPr>
          <p:cNvPr id="12" name="Straight Connector 7">
            <a:extLst>
              <a:ext uri="{FF2B5EF4-FFF2-40B4-BE49-F238E27FC236}">
                <a16:creationId xmlns:a16="http://schemas.microsoft.com/office/drawing/2014/main" id="{C894FF3C-9FBA-4567-A4A3-338ACFB80063}"/>
              </a:ext>
            </a:extLst>
          </p:cNvPr>
          <p:cNvCxnSpPr>
            <a:cxnSpLocks/>
          </p:cNvCxnSpPr>
          <p:nvPr userDrawn="1"/>
        </p:nvCxnSpPr>
        <p:spPr bwMode="gray">
          <a:xfrm>
            <a:off x="3344642" y="3175"/>
            <a:ext cx="0" cy="514032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3537408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oleObject" Target="../embeddings/oleObject16.bin"/><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tags" Target="../tags/tag45.xml"/><Relationship Id="rId2" Type="http://schemas.openxmlformats.org/officeDocument/2006/relationships/slideLayout" Target="../slideLayouts/slideLayout21.xml"/><Relationship Id="rId16" Type="http://schemas.openxmlformats.org/officeDocument/2006/relationships/tags" Target="../tags/tag44.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theme" Target="../theme/theme2.xml"/><Relationship Id="rId10" Type="http://schemas.openxmlformats.org/officeDocument/2006/relationships/slideLayout" Target="../slideLayouts/slideLayout29.xml"/><Relationship Id="rId19" Type="http://schemas.openxmlformats.org/officeDocument/2006/relationships/image" Target="../media/image1.emf"/><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1" name="Objekt 30" hidden="1"/>
          <p:cNvGraphicFramePr>
            <a:graphicFrameLocks noChangeAspect="1"/>
          </p:cNvGraphicFramePr>
          <p:nvPr>
            <p:custDataLst>
              <p:tags r:id="rId22"/>
            </p:custDataLst>
            <p:extLst>
              <p:ext uri="{D42A27DB-BD31-4B8C-83A1-F6EECF244321}">
                <p14:modId xmlns:p14="http://schemas.microsoft.com/office/powerpoint/2010/main" val="2273864166"/>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23" imgW="270" imgH="270" progId="TCLayout.ActiveDocument.1">
                  <p:embed/>
                </p:oleObj>
              </mc:Choice>
              <mc:Fallback>
                <p:oleObj name="think-cell Folie" r:id="rId23" imgW="270" imgH="270" progId="TCLayout.ActiveDocument.1">
                  <p:embed/>
                  <p:pic>
                    <p:nvPicPr>
                      <p:cNvPr id="31" name="Objekt 30" hidden="1"/>
                      <p:cNvPicPr/>
                      <p:nvPr/>
                    </p:nvPicPr>
                    <p:blipFill>
                      <a:blip r:embed="rId24"/>
                      <a:stretch>
                        <a:fillRect/>
                      </a:stretch>
                    </p:blipFill>
                    <p:spPr>
                      <a:xfrm>
                        <a:off x="1589" y="1192"/>
                        <a:ext cx="1587" cy="1190"/>
                      </a:xfrm>
                      <a:prstGeom prst="rect">
                        <a:avLst/>
                      </a:prstGeom>
                    </p:spPr>
                  </p:pic>
                </p:oleObj>
              </mc:Fallback>
            </mc:AlternateContent>
          </a:graphicData>
        </a:graphic>
      </p:graphicFrame>
      <p:grpSp>
        <p:nvGrpSpPr>
          <p:cNvPr id="10" name="Gruppieren 9"/>
          <p:cNvGrpSpPr/>
          <p:nvPr/>
        </p:nvGrpSpPr>
        <p:grpSpPr>
          <a:xfrm>
            <a:off x="2574725" y="-463828"/>
            <a:ext cx="796922" cy="428109"/>
            <a:chOff x="2574725" y="-463828"/>
            <a:chExt cx="796922" cy="428109"/>
          </a:xfrm>
        </p:grpSpPr>
        <p:sp>
          <p:nvSpPr>
            <p:cNvPr id="85" name="Rechteck 84"/>
            <p:cNvSpPr/>
            <p:nvPr/>
          </p:nvSpPr>
          <p:spPr>
            <a:xfrm>
              <a:off x="2574725" y="-463828"/>
              <a:ext cx="796922" cy="349528"/>
            </a:xfrm>
            <a:prstGeom prst="rect">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dirty="0">
                  <a:solidFill>
                    <a:schemeClr val="bg1"/>
                  </a:solidFill>
                </a:rPr>
                <a:t>Optional</a:t>
              </a:r>
              <a:br>
                <a:rPr lang="en-GB" sz="800" dirty="0">
                  <a:solidFill>
                    <a:schemeClr val="bg1"/>
                  </a:solidFill>
                </a:rPr>
              </a:br>
              <a:r>
                <a:rPr lang="en-GB" sz="600" dirty="0">
                  <a:solidFill>
                    <a:schemeClr val="bg1"/>
                  </a:solidFill>
                </a:rPr>
                <a:t>(works like a footer, description</a:t>
              </a:r>
              <a:r>
                <a:rPr lang="en-GB" sz="600" baseline="0" dirty="0">
                  <a:solidFill>
                    <a:schemeClr val="bg1"/>
                  </a:solidFill>
                </a:rPr>
                <a:t> slide 6</a:t>
              </a:r>
              <a:r>
                <a:rPr lang="en-GB" sz="600" dirty="0">
                  <a:solidFill>
                    <a:schemeClr val="bg1"/>
                  </a:solidFill>
                </a:rPr>
                <a:t>)</a:t>
              </a:r>
            </a:p>
          </p:txBody>
        </p:sp>
        <p:sp>
          <p:nvSpPr>
            <p:cNvPr id="4" name="Gleichschenkliges Dreieck 3"/>
            <p:cNvSpPr/>
            <p:nvPr userDrawn="1"/>
          </p:nvSpPr>
          <p:spPr>
            <a:xfrm rot="10800000">
              <a:off x="2900558" y="-114300"/>
              <a:ext cx="145256" cy="78581"/>
            </a:xfrm>
            <a:prstGeom prst="triangle">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dirty="0">
                <a:solidFill>
                  <a:schemeClr val="tx1"/>
                </a:solidFill>
              </a:endParaRPr>
            </a:p>
          </p:txBody>
        </p:sp>
      </p:grpSp>
      <p:grpSp>
        <p:nvGrpSpPr>
          <p:cNvPr id="8" name="Gruppieren 7"/>
          <p:cNvGrpSpPr/>
          <p:nvPr/>
        </p:nvGrpSpPr>
        <p:grpSpPr>
          <a:xfrm>
            <a:off x="3375028" y="-463828"/>
            <a:ext cx="796922" cy="428109"/>
            <a:chOff x="3375028" y="-463828"/>
            <a:chExt cx="796922" cy="428109"/>
          </a:xfrm>
        </p:grpSpPr>
        <p:sp>
          <p:nvSpPr>
            <p:cNvPr id="86" name="Rechteck 85"/>
            <p:cNvSpPr/>
            <p:nvPr/>
          </p:nvSpPr>
          <p:spPr>
            <a:xfrm>
              <a:off x="3375028" y="-463828"/>
              <a:ext cx="796922" cy="34952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dirty="0">
                  <a:solidFill>
                    <a:schemeClr val="tx1"/>
                  </a:solidFill>
                </a:rPr>
                <a:t>Optional</a:t>
              </a:r>
              <a:br>
                <a:rPr lang="en-GB" sz="800" dirty="0">
                  <a:solidFill>
                    <a:schemeClr val="tx1"/>
                  </a:solidFill>
                </a:rPr>
              </a:br>
              <a:r>
                <a:rPr lang="en-GB" sz="600" dirty="0">
                  <a:solidFill>
                    <a:schemeClr val="tx1"/>
                  </a:solidFill>
                </a:rPr>
                <a:t>(if there is no [3] this moves to the left)</a:t>
              </a:r>
            </a:p>
          </p:txBody>
        </p:sp>
        <p:sp>
          <p:nvSpPr>
            <p:cNvPr id="87" name="Gleichschenkliges Dreieck 86"/>
            <p:cNvSpPr/>
            <p:nvPr userDrawn="1"/>
          </p:nvSpPr>
          <p:spPr>
            <a:xfrm rot="10800000">
              <a:off x="3700861" y="-114300"/>
              <a:ext cx="145256" cy="78581"/>
            </a:xfrm>
            <a:prstGeom prst="triangl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dirty="0">
                <a:solidFill>
                  <a:schemeClr val="tx1"/>
                </a:solidFill>
              </a:endParaRPr>
            </a:p>
          </p:txBody>
        </p:sp>
      </p:grpSp>
      <p:grpSp>
        <p:nvGrpSpPr>
          <p:cNvPr id="11" name="Gruppieren 10"/>
          <p:cNvGrpSpPr/>
          <p:nvPr/>
        </p:nvGrpSpPr>
        <p:grpSpPr>
          <a:xfrm>
            <a:off x="1776414" y="-463828"/>
            <a:ext cx="798310" cy="428109"/>
            <a:chOff x="1776414" y="-463828"/>
            <a:chExt cx="798310" cy="428109"/>
          </a:xfrm>
        </p:grpSpPr>
        <p:sp>
          <p:nvSpPr>
            <p:cNvPr id="84" name="Rechteck 83"/>
            <p:cNvSpPr/>
            <p:nvPr/>
          </p:nvSpPr>
          <p:spPr>
            <a:xfrm>
              <a:off x="1776414" y="-463828"/>
              <a:ext cx="798310" cy="34952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dirty="0">
                  <a:solidFill>
                    <a:schemeClr val="tx1"/>
                  </a:solidFill>
                </a:rPr>
                <a:t>Withdrawn</a:t>
              </a:r>
              <a:br>
                <a:rPr lang="en-GB" sz="800" dirty="0">
                  <a:solidFill>
                    <a:schemeClr val="tx1"/>
                  </a:solidFill>
                </a:rPr>
              </a:br>
              <a:r>
                <a:rPr lang="en-GB" sz="600" dirty="0">
                  <a:solidFill>
                    <a:schemeClr val="tx1"/>
                  </a:solidFill>
                </a:rPr>
                <a:t>(only if necessary, via the master view)</a:t>
              </a:r>
            </a:p>
          </p:txBody>
        </p:sp>
        <p:sp>
          <p:nvSpPr>
            <p:cNvPr id="88" name="Gleichschenkliges Dreieck 87"/>
            <p:cNvSpPr/>
            <p:nvPr userDrawn="1"/>
          </p:nvSpPr>
          <p:spPr>
            <a:xfrm rot="10800000">
              <a:off x="2102941" y="-114300"/>
              <a:ext cx="145256" cy="78581"/>
            </a:xfrm>
            <a:prstGeom prst="triangl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dirty="0">
                <a:solidFill>
                  <a:schemeClr val="tx1"/>
                </a:solidFill>
              </a:endParaRPr>
            </a:p>
          </p:txBody>
        </p:sp>
      </p:grpSp>
      <p:grpSp>
        <p:nvGrpSpPr>
          <p:cNvPr id="5" name="Gruppieren 4"/>
          <p:cNvGrpSpPr/>
          <p:nvPr/>
        </p:nvGrpSpPr>
        <p:grpSpPr>
          <a:xfrm>
            <a:off x="977900" y="-463828"/>
            <a:ext cx="799901" cy="428109"/>
            <a:chOff x="977900" y="-463828"/>
            <a:chExt cx="799901" cy="428109"/>
          </a:xfrm>
        </p:grpSpPr>
        <p:sp>
          <p:nvSpPr>
            <p:cNvPr id="70" name="Rechteck 69"/>
            <p:cNvSpPr/>
            <p:nvPr/>
          </p:nvSpPr>
          <p:spPr>
            <a:xfrm>
              <a:off x="977900" y="-463828"/>
              <a:ext cx="799901" cy="349528"/>
            </a:xfrm>
            <a:prstGeom prst="rect">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b="1" dirty="0">
                  <a:solidFill>
                    <a:schemeClr val="bg1"/>
                  </a:solidFill>
                </a:rPr>
                <a:t>Mandatory</a:t>
              </a:r>
              <a:br>
                <a:rPr lang="en-GB" sz="800" dirty="0">
                  <a:solidFill>
                    <a:schemeClr val="bg1"/>
                  </a:solidFill>
                </a:rPr>
              </a:br>
              <a:r>
                <a:rPr lang="en-GB" sz="600" dirty="0">
                  <a:solidFill>
                    <a:prstClr val="white"/>
                  </a:solidFill>
                </a:rPr>
                <a:t>(</a:t>
              </a:r>
              <a:r>
                <a:rPr lang="en-US" sz="600" dirty="0">
                  <a:solidFill>
                    <a:prstClr val="white"/>
                  </a:solidFill>
                </a:rPr>
                <a:t>do not delete or change it</a:t>
              </a:r>
              <a:r>
                <a:rPr lang="en-GB" sz="600" baseline="0" dirty="0">
                  <a:solidFill>
                    <a:prstClr val="white"/>
                  </a:solidFill>
                </a:rPr>
                <a:t>!</a:t>
              </a:r>
              <a:r>
                <a:rPr lang="en-GB" sz="600" dirty="0">
                  <a:solidFill>
                    <a:prstClr val="white"/>
                  </a:solidFill>
                </a:rPr>
                <a:t>)</a:t>
              </a:r>
              <a:endParaRPr lang="en-GB" sz="800" dirty="0">
                <a:solidFill>
                  <a:schemeClr val="bg1"/>
                </a:solidFill>
              </a:endParaRPr>
            </a:p>
          </p:txBody>
        </p:sp>
        <p:sp>
          <p:nvSpPr>
            <p:cNvPr id="89" name="Gleichschenkliges Dreieck 88"/>
            <p:cNvSpPr/>
            <p:nvPr userDrawn="1"/>
          </p:nvSpPr>
          <p:spPr>
            <a:xfrm rot="10800000">
              <a:off x="1305222" y="-114300"/>
              <a:ext cx="145256" cy="78581"/>
            </a:xfrm>
            <a:prstGeom prst="triangle">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dirty="0">
                <a:solidFill>
                  <a:schemeClr val="tx1"/>
                </a:solidFill>
              </a:endParaRPr>
            </a:p>
          </p:txBody>
        </p:sp>
      </p:grpSp>
      <p:sp>
        <p:nvSpPr>
          <p:cNvPr id="6" name="Rechteck 5"/>
          <p:cNvSpPr/>
          <p:nvPr/>
        </p:nvSpPr>
        <p:spPr>
          <a:xfrm>
            <a:off x="188912" y="441325"/>
            <a:ext cx="8772525" cy="4519613"/>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endParaRPr>
          </a:p>
        </p:txBody>
      </p:sp>
      <p:sp>
        <p:nvSpPr>
          <p:cNvPr id="26" name="Textfeld 26"/>
          <p:cNvSpPr txBox="1">
            <a:spLocks noChangeArrowheads="1"/>
          </p:cNvSpPr>
          <p:nvPr/>
        </p:nvSpPr>
        <p:spPr bwMode="gray">
          <a:xfrm>
            <a:off x="8273941" y="5003805"/>
            <a:ext cx="158698" cy="92333"/>
          </a:xfrm>
          <a:prstGeom prst="rect">
            <a:avLst/>
          </a:prstGeom>
          <a:noFill/>
          <a:ln w="9525">
            <a:noFill/>
            <a:miter lim="800000"/>
            <a:headEnd/>
            <a:tailEnd/>
          </a:ln>
        </p:spPr>
        <p:txBody>
          <a:bodyPr wrap="none" lIns="0" tIns="0" rIns="0" bIns="0" anchor="ctr">
            <a:spAutoFit/>
          </a:bodyPr>
          <a:lstStyle/>
          <a:p>
            <a:pPr algn="l" defTabSz="685800"/>
            <a:fld id="{7D6EB20D-04D2-4A2D-94DA-2F197CC5CE85}" type="slidenum">
              <a:rPr lang="en-GB" sz="600" b="1" noProof="0" smtClean="0">
                <a:solidFill>
                  <a:schemeClr val="tx1"/>
                </a:solidFill>
              </a:rPr>
              <a:pPr algn="l" defTabSz="685800"/>
              <a:t>‹#›</a:t>
            </a:fld>
            <a:endParaRPr lang="en-GB" sz="600" b="1" noProof="0" dirty="0">
              <a:solidFill>
                <a:schemeClr val="tx1"/>
              </a:solidFill>
            </a:endParaRPr>
          </a:p>
        </p:txBody>
      </p:sp>
      <p:sp>
        <p:nvSpPr>
          <p:cNvPr id="29"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6AF7D81C-430C-43B3-B8AC-A6470F52D91E}" type="datetime1">
              <a:rPr lang="en-GB" smtClean="0"/>
              <a:t>02/12/2021</a:t>
            </a:fld>
            <a:endParaRPr lang="en-GB" dirty="0"/>
          </a:p>
        </p:txBody>
      </p:sp>
      <p:sp>
        <p:nvSpPr>
          <p:cNvPr id="32" name="Titelplatzhalter 31"/>
          <p:cNvSpPr>
            <a:spLocks noGrp="1"/>
          </p:cNvSpPr>
          <p:nvPr>
            <p:ph type="title"/>
          </p:nvPr>
        </p:nvSpPr>
        <p:spPr>
          <a:xfrm>
            <a:off x="978102" y="630238"/>
            <a:ext cx="7185713" cy="276999"/>
          </a:xfrm>
          <a:prstGeom prst="rect">
            <a:avLst/>
          </a:prstGeom>
        </p:spPr>
        <p:txBody>
          <a:bodyPr vert="horz" wrap="square" lIns="0" tIns="0" rIns="0" bIns="0" rtlCol="0" anchor="t">
            <a:spAutoFit/>
          </a:bodyPr>
          <a:lstStyle/>
          <a:p>
            <a:r>
              <a:rPr lang="en-GB" dirty="0"/>
              <a:t>Headline</a:t>
            </a:r>
          </a:p>
        </p:txBody>
      </p:sp>
      <p:grpSp>
        <p:nvGrpSpPr>
          <p:cNvPr id="7" name="Gruppieren 6"/>
          <p:cNvGrpSpPr>
            <a:grpSpLocks/>
          </p:cNvGrpSpPr>
          <p:nvPr/>
        </p:nvGrpSpPr>
        <p:grpSpPr>
          <a:xfrm>
            <a:off x="7767501" y="106363"/>
            <a:ext cx="1193937" cy="221456"/>
            <a:chOff x="8174038" y="147638"/>
            <a:chExt cx="787400" cy="146050"/>
          </a:xfrm>
        </p:grpSpPr>
        <p:sp>
          <p:nvSpPr>
            <p:cNvPr id="3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33"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59"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0"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1"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2"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63" name="Rectangle 92"/>
          <p:cNvSpPr>
            <a:spLocks noChangeArrowheads="1"/>
          </p:cNvSpPr>
          <p:nvPr/>
        </p:nvSpPr>
        <p:spPr bwMode="auto">
          <a:xfrm>
            <a:off x="8169275" y="5016634"/>
            <a:ext cx="68263" cy="666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solidFill>
                <a:srgbClr val="000000"/>
              </a:solidFill>
            </a:endParaRPr>
          </a:p>
        </p:txBody>
      </p:sp>
      <p:sp>
        <p:nvSpPr>
          <p:cNvPr id="67" name="Textplatzhalter 66"/>
          <p:cNvSpPr>
            <a:spLocks noGrp="1"/>
          </p:cNvSpPr>
          <p:nvPr>
            <p:ph type="body" idx="1"/>
          </p:nvPr>
        </p:nvSpPr>
        <p:spPr>
          <a:xfrm>
            <a:off x="978102" y="1263728"/>
            <a:ext cx="7185713" cy="1166473"/>
          </a:xfrm>
          <a:prstGeom prst="rect">
            <a:avLst/>
          </a:prstGeom>
        </p:spPr>
        <p:txBody>
          <a:bodyPr vert="horz" lIns="0" tIns="0" rIns="0" bIns="0" rtlCol="0">
            <a:spAutoFit/>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8" name="Textfeld 63"/>
          <p:cNvSpPr txBox="1">
            <a:spLocks/>
          </p:cNvSpPr>
          <p:nvPr/>
        </p:nvSpPr>
        <p:spPr>
          <a:xfrm>
            <a:off x="982663" y="92442"/>
            <a:ext cx="798311" cy="249299"/>
          </a:xfrm>
          <a:prstGeom prst="rect">
            <a:avLst/>
          </a:prstGeom>
          <a:noFill/>
        </p:spPr>
        <p:txBody>
          <a:bodyPr wrap="squar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lang="en-GB" sz="600" b="1" dirty="0">
                <a:solidFill>
                  <a:schemeClr val="accent1"/>
                </a:solidFill>
              </a:rPr>
              <a:t>Shaping the </a:t>
            </a:r>
            <a:br>
              <a:rPr lang="en-GB" sz="600" b="1" dirty="0">
                <a:solidFill>
                  <a:schemeClr val="accent1"/>
                </a:solidFill>
              </a:rPr>
            </a:br>
            <a:r>
              <a:rPr lang="en-GB" sz="600" b="1" dirty="0">
                <a:solidFill>
                  <a:schemeClr val="accent1"/>
                </a:solidFill>
              </a:rPr>
              <a:t>future of digital </a:t>
            </a:r>
            <a:br>
              <a:rPr lang="en-GB" sz="600" b="1" dirty="0">
                <a:solidFill>
                  <a:schemeClr val="accent1"/>
                </a:solidFill>
              </a:rPr>
            </a:br>
            <a:r>
              <a:rPr lang="en-GB" sz="600" b="1" dirty="0">
                <a:solidFill>
                  <a:schemeClr val="accent1"/>
                </a:solidFill>
              </a:rPr>
              <a:t>business</a:t>
            </a:r>
          </a:p>
        </p:txBody>
      </p:sp>
      <p:sp>
        <p:nvSpPr>
          <p:cNvPr id="64" name="Textfeld 63"/>
          <p:cNvSpPr txBox="1">
            <a:spLocks/>
          </p:cNvSpPr>
          <p:nvPr/>
        </p:nvSpPr>
        <p:spPr>
          <a:xfrm>
            <a:off x="1781377" y="92442"/>
            <a:ext cx="720523" cy="249299"/>
          </a:xfrm>
          <a:prstGeom prst="rect">
            <a:avLst/>
          </a:prstGeom>
        </p:spPr>
        <p:txBody>
          <a:bodyPr vert="horz" lIns="0" tIns="0" rIns="0" bIns="0" rtlCol="0" anchor="t">
            <a:noAutofit/>
          </a:bodyPr>
          <a:lstStyle>
            <a:defPPr>
              <a:defRPr lang="de-DE"/>
            </a:defPPr>
            <a:lvl1pPr>
              <a:lnSpc>
                <a:spcPct val="90000"/>
              </a:lnSpc>
              <a:defRPr sz="600" b="1">
                <a:solidFill>
                  <a:schemeClr val="accent1"/>
                </a:solidFill>
              </a:defRPr>
            </a:lvl1pPr>
          </a:lstStyle>
          <a:p>
            <a:pPr lvl="0"/>
            <a:r>
              <a:rPr lang="en-GB" dirty="0"/>
              <a:t> </a:t>
            </a:r>
          </a:p>
        </p:txBody>
      </p:sp>
      <p:grpSp>
        <p:nvGrpSpPr>
          <p:cNvPr id="9" name="Gruppieren 8">
            <a:extLst>
              <a:ext uri="{FF2B5EF4-FFF2-40B4-BE49-F238E27FC236}">
                <a16:creationId xmlns:a16="http://schemas.microsoft.com/office/drawing/2014/main" id="{9A6E01A2-ABAF-4729-B8DB-48B800C760EC}"/>
              </a:ext>
            </a:extLst>
          </p:cNvPr>
          <p:cNvGrpSpPr/>
          <p:nvPr userDrawn="1"/>
        </p:nvGrpSpPr>
        <p:grpSpPr>
          <a:xfrm>
            <a:off x="-275113" y="-292561"/>
            <a:ext cx="9702165" cy="5750386"/>
            <a:chOff x="-275113" y="-292561"/>
            <a:chExt cx="9702165" cy="5750386"/>
          </a:xfrm>
        </p:grpSpPr>
        <p:grpSp>
          <p:nvGrpSpPr>
            <p:cNvPr id="111" name="Gruppieren 110">
              <a:extLst>
                <a:ext uri="{FF2B5EF4-FFF2-40B4-BE49-F238E27FC236}">
                  <a16:creationId xmlns:a16="http://schemas.microsoft.com/office/drawing/2014/main" id="{9B9652E7-9F72-41B2-9A39-A7644385114A}"/>
                </a:ext>
              </a:extLst>
            </p:cNvPr>
            <p:cNvGrpSpPr/>
            <p:nvPr userDrawn="1"/>
          </p:nvGrpSpPr>
          <p:grpSpPr>
            <a:xfrm>
              <a:off x="186532" y="5290185"/>
              <a:ext cx="8772525" cy="167640"/>
              <a:chOff x="186532" y="-281940"/>
              <a:chExt cx="8772525" cy="708660"/>
            </a:xfrm>
          </p:grpSpPr>
          <p:cxnSp>
            <p:nvCxnSpPr>
              <p:cNvPr id="132" name="Gerade Verbindung 45">
                <a:extLst>
                  <a:ext uri="{FF2B5EF4-FFF2-40B4-BE49-F238E27FC236}">
                    <a16:creationId xmlns:a16="http://schemas.microsoft.com/office/drawing/2014/main" id="{76B4B403-0A0F-4826-80F4-BB2E6AB0AD72}"/>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3" name="Gerade Verbindung 46">
                <a:extLst>
                  <a:ext uri="{FF2B5EF4-FFF2-40B4-BE49-F238E27FC236}">
                    <a16:creationId xmlns:a16="http://schemas.microsoft.com/office/drawing/2014/main" id="{B3572485-C785-46E5-9EC4-01B81EABCEE0}"/>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4" name="Gerade Verbindung 47">
                <a:extLst>
                  <a:ext uri="{FF2B5EF4-FFF2-40B4-BE49-F238E27FC236}">
                    <a16:creationId xmlns:a16="http://schemas.microsoft.com/office/drawing/2014/main" id="{E4347E90-9464-4D60-9E57-5B0ECCE48C90}"/>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5" name="Gerade Verbindung 48">
                <a:extLst>
                  <a:ext uri="{FF2B5EF4-FFF2-40B4-BE49-F238E27FC236}">
                    <a16:creationId xmlns:a16="http://schemas.microsoft.com/office/drawing/2014/main" id="{3CE83C88-7E71-4A9E-8867-5117437291FF}"/>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6" name="Gerade Verbindung 49">
                <a:extLst>
                  <a:ext uri="{FF2B5EF4-FFF2-40B4-BE49-F238E27FC236}">
                    <a16:creationId xmlns:a16="http://schemas.microsoft.com/office/drawing/2014/main" id="{E04E6513-2F0B-4193-B625-A7BFAFE543AF}"/>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7" name="Gerade Verbindung 50">
                <a:extLst>
                  <a:ext uri="{FF2B5EF4-FFF2-40B4-BE49-F238E27FC236}">
                    <a16:creationId xmlns:a16="http://schemas.microsoft.com/office/drawing/2014/main" id="{943D60F0-5068-401E-9DE5-7BFF97585808}"/>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8" name="Gerade Verbindung 51">
                <a:extLst>
                  <a:ext uri="{FF2B5EF4-FFF2-40B4-BE49-F238E27FC236}">
                    <a16:creationId xmlns:a16="http://schemas.microsoft.com/office/drawing/2014/main" id="{4F36589E-4593-4DAB-BB53-40AF21E13C77}"/>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9" name="Gerade Verbindung 52">
                <a:extLst>
                  <a:ext uri="{FF2B5EF4-FFF2-40B4-BE49-F238E27FC236}">
                    <a16:creationId xmlns:a16="http://schemas.microsoft.com/office/drawing/2014/main" id="{6A9A1BFF-00C5-4333-9C74-4DA3DAB7EA28}"/>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0" name="Gerade Verbindung 53">
                <a:extLst>
                  <a:ext uri="{FF2B5EF4-FFF2-40B4-BE49-F238E27FC236}">
                    <a16:creationId xmlns:a16="http://schemas.microsoft.com/office/drawing/2014/main" id="{3C414E7E-A369-495B-9205-707BD6A7CA66}"/>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1" name="Gerade Verbindung 54">
                <a:extLst>
                  <a:ext uri="{FF2B5EF4-FFF2-40B4-BE49-F238E27FC236}">
                    <a16:creationId xmlns:a16="http://schemas.microsoft.com/office/drawing/2014/main" id="{DD0B953B-7E7B-42AC-8BE4-D20203CDBD1B}"/>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2" name="Gerade Verbindung 55">
                <a:extLst>
                  <a:ext uri="{FF2B5EF4-FFF2-40B4-BE49-F238E27FC236}">
                    <a16:creationId xmlns:a16="http://schemas.microsoft.com/office/drawing/2014/main" id="{0A6F3594-F3E3-41B6-B12A-286E74B6E073}"/>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3" name="Gerade Verbindung 56">
                <a:extLst>
                  <a:ext uri="{FF2B5EF4-FFF2-40B4-BE49-F238E27FC236}">
                    <a16:creationId xmlns:a16="http://schemas.microsoft.com/office/drawing/2014/main" id="{32989B52-4AF3-4C4A-B128-E96D66119237}"/>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118" name="Gerade Verbindung 31">
              <a:extLst>
                <a:ext uri="{FF2B5EF4-FFF2-40B4-BE49-F238E27FC236}">
                  <a16:creationId xmlns:a16="http://schemas.microsoft.com/office/drawing/2014/main" id="{26C54A1F-E3F4-4A91-A9FC-8ED125EEA5CC}"/>
                </a:ext>
              </a:extLst>
            </p:cNvPr>
            <p:cNvCxnSpPr/>
            <p:nvPr userDrawn="1"/>
          </p:nvCxnSpPr>
          <p:spPr bwMode="gray">
            <a:xfrm rot="16200000">
              <a:off x="-191293" y="355441"/>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9" name="Gerade Verbindung 32">
              <a:extLst>
                <a:ext uri="{FF2B5EF4-FFF2-40B4-BE49-F238E27FC236}">
                  <a16:creationId xmlns:a16="http://schemas.microsoft.com/office/drawing/2014/main" id="{A56F8845-9DFA-45A3-8663-3093DEDCAFB0}"/>
                </a:ext>
              </a:extLst>
            </p:cNvPr>
            <p:cNvCxnSpPr/>
            <p:nvPr userDrawn="1"/>
          </p:nvCxnSpPr>
          <p:spPr bwMode="gray">
            <a:xfrm rot="16200000">
              <a:off x="-191293" y="546385"/>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0" name="Gerade Verbindung 33">
              <a:extLst>
                <a:ext uri="{FF2B5EF4-FFF2-40B4-BE49-F238E27FC236}">
                  <a16:creationId xmlns:a16="http://schemas.microsoft.com/office/drawing/2014/main" id="{EA44EB04-CF76-4710-8A46-3D75DDA783B1}"/>
                </a:ext>
              </a:extLst>
            </p:cNvPr>
            <p:cNvCxnSpPr/>
            <p:nvPr userDrawn="1"/>
          </p:nvCxnSpPr>
          <p:spPr bwMode="gray">
            <a:xfrm rot="16200000">
              <a:off x="-191293"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1" name="Gerade Verbindung 34">
              <a:extLst>
                <a:ext uri="{FF2B5EF4-FFF2-40B4-BE49-F238E27FC236}">
                  <a16:creationId xmlns:a16="http://schemas.microsoft.com/office/drawing/2014/main" id="{A4218AAD-D050-46C4-BF7F-0EAB72FBB8FD}"/>
                </a:ext>
              </a:extLst>
            </p:cNvPr>
            <p:cNvCxnSpPr/>
            <p:nvPr userDrawn="1"/>
          </p:nvCxnSpPr>
          <p:spPr bwMode="gray">
            <a:xfrm rot="16200000">
              <a:off x="-191293"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2" name="Gerade Verbindung 35">
              <a:extLst>
                <a:ext uri="{FF2B5EF4-FFF2-40B4-BE49-F238E27FC236}">
                  <a16:creationId xmlns:a16="http://schemas.microsoft.com/office/drawing/2014/main" id="{64C5EC51-0E84-4B29-B282-FA0B6E529ED8}"/>
                </a:ext>
              </a:extLst>
            </p:cNvPr>
            <p:cNvCxnSpPr/>
            <p:nvPr userDrawn="1"/>
          </p:nvCxnSpPr>
          <p:spPr bwMode="gray">
            <a:xfrm rot="16200000">
              <a:off x="9343232" y="3530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3" name="Gerade Verbindung 36">
              <a:extLst>
                <a:ext uri="{FF2B5EF4-FFF2-40B4-BE49-F238E27FC236}">
                  <a16:creationId xmlns:a16="http://schemas.microsoft.com/office/drawing/2014/main" id="{424B211F-F435-43ED-A123-A109D52A35CE}"/>
                </a:ext>
              </a:extLst>
            </p:cNvPr>
            <p:cNvCxnSpPr/>
            <p:nvPr userDrawn="1"/>
          </p:nvCxnSpPr>
          <p:spPr bwMode="gray">
            <a:xfrm rot="16200000">
              <a:off x="9343232" y="546386"/>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4" name="Gerade Verbindung 37">
              <a:extLst>
                <a:ext uri="{FF2B5EF4-FFF2-40B4-BE49-F238E27FC236}">
                  <a16:creationId xmlns:a16="http://schemas.microsoft.com/office/drawing/2014/main" id="{6116A258-EC70-4C9C-BBA6-1F7F9945E207}"/>
                </a:ext>
              </a:extLst>
            </p:cNvPr>
            <p:cNvCxnSpPr/>
            <p:nvPr userDrawn="1"/>
          </p:nvCxnSpPr>
          <p:spPr bwMode="gray">
            <a:xfrm rot="16200000">
              <a:off x="9343232"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5" name="Gerade Verbindung 38">
              <a:extLst>
                <a:ext uri="{FF2B5EF4-FFF2-40B4-BE49-F238E27FC236}">
                  <a16:creationId xmlns:a16="http://schemas.microsoft.com/office/drawing/2014/main" id="{D1F08203-9577-403E-A6A7-7B93CDDBC04D}"/>
                </a:ext>
              </a:extLst>
            </p:cNvPr>
            <p:cNvCxnSpPr/>
            <p:nvPr userDrawn="1"/>
          </p:nvCxnSpPr>
          <p:spPr bwMode="gray">
            <a:xfrm rot="16200000">
              <a:off x="9343232"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6" name="Gerade Verbindung 39">
              <a:extLst>
                <a:ext uri="{FF2B5EF4-FFF2-40B4-BE49-F238E27FC236}">
                  <a16:creationId xmlns:a16="http://schemas.microsoft.com/office/drawing/2014/main" id="{EFC4D072-AB47-4EBB-9306-4E43A27D71EB}"/>
                </a:ext>
              </a:extLst>
            </p:cNvPr>
            <p:cNvCxnSpPr/>
            <p:nvPr userDrawn="1"/>
          </p:nvCxnSpPr>
          <p:spPr bwMode="gray">
            <a:xfrm rot="16200000">
              <a:off x="-191293"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7" name="Gerade Verbindung 40">
              <a:extLst>
                <a:ext uri="{FF2B5EF4-FFF2-40B4-BE49-F238E27FC236}">
                  <a16:creationId xmlns:a16="http://schemas.microsoft.com/office/drawing/2014/main" id="{6B7D9705-B3FE-423F-8A32-60168EF90EAC}"/>
                </a:ext>
              </a:extLst>
            </p:cNvPr>
            <p:cNvCxnSpPr/>
            <p:nvPr userDrawn="1"/>
          </p:nvCxnSpPr>
          <p:spPr bwMode="gray">
            <a:xfrm rot="16200000">
              <a:off x="-191293"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8" name="Gerade Verbindung 41">
              <a:extLst>
                <a:ext uri="{FF2B5EF4-FFF2-40B4-BE49-F238E27FC236}">
                  <a16:creationId xmlns:a16="http://schemas.microsoft.com/office/drawing/2014/main" id="{96B54ED8-32DE-466E-879E-66FB507045F3}"/>
                </a:ext>
              </a:extLst>
            </p:cNvPr>
            <p:cNvCxnSpPr/>
            <p:nvPr userDrawn="1"/>
          </p:nvCxnSpPr>
          <p:spPr bwMode="gray">
            <a:xfrm rot="16200000">
              <a:off x="-191293"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9" name="Gerade Verbindung 42">
              <a:extLst>
                <a:ext uri="{FF2B5EF4-FFF2-40B4-BE49-F238E27FC236}">
                  <a16:creationId xmlns:a16="http://schemas.microsoft.com/office/drawing/2014/main" id="{118BFCBE-29BC-4711-B37D-7ACC74969575}"/>
                </a:ext>
              </a:extLst>
            </p:cNvPr>
            <p:cNvCxnSpPr/>
            <p:nvPr userDrawn="1"/>
          </p:nvCxnSpPr>
          <p:spPr bwMode="gray">
            <a:xfrm rot="16200000">
              <a:off x="9343232"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0" name="Gerade Verbindung 43">
              <a:extLst>
                <a:ext uri="{FF2B5EF4-FFF2-40B4-BE49-F238E27FC236}">
                  <a16:creationId xmlns:a16="http://schemas.microsoft.com/office/drawing/2014/main" id="{7D44C11C-281A-46C7-B69A-943F4395C135}"/>
                </a:ext>
              </a:extLst>
            </p:cNvPr>
            <p:cNvCxnSpPr/>
            <p:nvPr userDrawn="1"/>
          </p:nvCxnSpPr>
          <p:spPr bwMode="gray">
            <a:xfrm rot="16200000">
              <a:off x="9343232"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1" name="Gerade Verbindung 44">
              <a:extLst>
                <a:ext uri="{FF2B5EF4-FFF2-40B4-BE49-F238E27FC236}">
                  <a16:creationId xmlns:a16="http://schemas.microsoft.com/office/drawing/2014/main" id="{577DA62B-E076-466E-A98D-911001E39438}"/>
                </a:ext>
              </a:extLst>
            </p:cNvPr>
            <p:cNvCxnSpPr/>
            <p:nvPr userDrawn="1"/>
          </p:nvCxnSpPr>
          <p:spPr bwMode="gray">
            <a:xfrm rot="16200000">
              <a:off x="9343232"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144" name="Gruppieren 143">
              <a:extLst>
                <a:ext uri="{FF2B5EF4-FFF2-40B4-BE49-F238E27FC236}">
                  <a16:creationId xmlns:a16="http://schemas.microsoft.com/office/drawing/2014/main" id="{BDA93323-8474-4C09-9EB1-C678202B458B}"/>
                </a:ext>
              </a:extLst>
            </p:cNvPr>
            <p:cNvGrpSpPr/>
            <p:nvPr userDrawn="1"/>
          </p:nvGrpSpPr>
          <p:grpSpPr>
            <a:xfrm>
              <a:off x="186532" y="-292561"/>
              <a:ext cx="8772525" cy="167640"/>
              <a:chOff x="186532" y="-281940"/>
              <a:chExt cx="8772525" cy="708660"/>
            </a:xfrm>
          </p:grpSpPr>
          <p:cxnSp>
            <p:nvCxnSpPr>
              <p:cNvPr id="145" name="Gerade Verbindung 45">
                <a:extLst>
                  <a:ext uri="{FF2B5EF4-FFF2-40B4-BE49-F238E27FC236}">
                    <a16:creationId xmlns:a16="http://schemas.microsoft.com/office/drawing/2014/main" id="{06DC4ADA-EBA1-4706-A7F5-B331E37CF5CD}"/>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6" name="Gerade Verbindung 46">
                <a:extLst>
                  <a:ext uri="{FF2B5EF4-FFF2-40B4-BE49-F238E27FC236}">
                    <a16:creationId xmlns:a16="http://schemas.microsoft.com/office/drawing/2014/main" id="{7D874114-BC2A-4E04-BD01-D4E898F8ACB1}"/>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7" name="Gerade Verbindung 47">
                <a:extLst>
                  <a:ext uri="{FF2B5EF4-FFF2-40B4-BE49-F238E27FC236}">
                    <a16:creationId xmlns:a16="http://schemas.microsoft.com/office/drawing/2014/main" id="{C066F1CA-9C16-4771-B889-B0919E50E8CE}"/>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8" name="Gerade Verbindung 48">
                <a:extLst>
                  <a:ext uri="{FF2B5EF4-FFF2-40B4-BE49-F238E27FC236}">
                    <a16:creationId xmlns:a16="http://schemas.microsoft.com/office/drawing/2014/main" id="{EF06DF6B-AA9A-4767-B8C8-CD59F912E5EF}"/>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9" name="Gerade Verbindung 49">
                <a:extLst>
                  <a:ext uri="{FF2B5EF4-FFF2-40B4-BE49-F238E27FC236}">
                    <a16:creationId xmlns:a16="http://schemas.microsoft.com/office/drawing/2014/main" id="{B8BFB74B-6BD9-4B5E-A3CA-8A1EFF7B9393}"/>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0" name="Gerade Verbindung 50">
                <a:extLst>
                  <a:ext uri="{FF2B5EF4-FFF2-40B4-BE49-F238E27FC236}">
                    <a16:creationId xmlns:a16="http://schemas.microsoft.com/office/drawing/2014/main" id="{DDD78520-7092-4574-9F7B-1F5FBA9A404C}"/>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1" name="Gerade Verbindung 51">
                <a:extLst>
                  <a:ext uri="{FF2B5EF4-FFF2-40B4-BE49-F238E27FC236}">
                    <a16:creationId xmlns:a16="http://schemas.microsoft.com/office/drawing/2014/main" id="{4C9F950E-9F8A-4178-B682-287C3E4393BA}"/>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2" name="Gerade Verbindung 52">
                <a:extLst>
                  <a:ext uri="{FF2B5EF4-FFF2-40B4-BE49-F238E27FC236}">
                    <a16:creationId xmlns:a16="http://schemas.microsoft.com/office/drawing/2014/main" id="{44CEB7E0-C951-41BC-9D3C-14C5797A33FA}"/>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3" name="Gerade Verbindung 53">
                <a:extLst>
                  <a:ext uri="{FF2B5EF4-FFF2-40B4-BE49-F238E27FC236}">
                    <a16:creationId xmlns:a16="http://schemas.microsoft.com/office/drawing/2014/main" id="{9FEDEDB5-3588-424D-98DF-B3BA6B615255}"/>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4" name="Gerade Verbindung 54">
                <a:extLst>
                  <a:ext uri="{FF2B5EF4-FFF2-40B4-BE49-F238E27FC236}">
                    <a16:creationId xmlns:a16="http://schemas.microsoft.com/office/drawing/2014/main" id="{38F87FFF-B97F-4913-AEE7-4FEB467019FC}"/>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5" name="Gerade Verbindung 55">
                <a:extLst>
                  <a:ext uri="{FF2B5EF4-FFF2-40B4-BE49-F238E27FC236}">
                    <a16:creationId xmlns:a16="http://schemas.microsoft.com/office/drawing/2014/main" id="{395B9B29-7DCB-4E41-893F-361F926D55B8}"/>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6" name="Gerade Verbindung 56">
                <a:extLst>
                  <a:ext uri="{FF2B5EF4-FFF2-40B4-BE49-F238E27FC236}">
                    <a16:creationId xmlns:a16="http://schemas.microsoft.com/office/drawing/2014/main" id="{65A27F85-ECED-4F80-BB3D-6124425B81B0}"/>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sp>
        <p:nvSpPr>
          <p:cNvPr id="2" name="Fußzeilenplatzhalter 1">
            <a:extLst>
              <a:ext uri="{FF2B5EF4-FFF2-40B4-BE49-F238E27FC236}">
                <a16:creationId xmlns:a16="http://schemas.microsoft.com/office/drawing/2014/main" id="{B88CF733-9403-434B-859F-A78E8F743BA5}"/>
              </a:ext>
            </a:extLst>
          </p:cNvPr>
          <p:cNvSpPr>
            <a:spLocks noGrp="1"/>
          </p:cNvSpPr>
          <p:nvPr>
            <p:ph type="ftr" sz="quarter" idx="3"/>
          </p:nvPr>
        </p:nvSpPr>
        <p:spPr>
          <a:xfrm>
            <a:off x="2579688" y="86336"/>
            <a:ext cx="720000" cy="249299"/>
          </a:xfrm>
          <a:prstGeom prst="rect">
            <a:avLst/>
          </a:prstGeom>
        </p:spPr>
        <p:txBody>
          <a:bodyPr vert="horz" lIns="0" tIns="0" rIns="0" bIns="0" rtlCol="0" anchor="t" anchorCtr="0"/>
          <a:lstStyle>
            <a:lvl1pPr algn="l">
              <a:lnSpc>
                <a:spcPct val="90000"/>
              </a:lnSpc>
              <a:defRPr sz="600" b="1">
                <a:solidFill>
                  <a:schemeClr val="bg1"/>
                </a:solidFill>
              </a:defRPr>
            </a:lvl1pPr>
          </a:lstStyle>
          <a:p>
            <a:r>
              <a:rPr lang="en-US" dirty="0"/>
              <a:t>Type here if </a:t>
            </a:r>
          </a:p>
          <a:p>
            <a:r>
              <a:rPr lang="en-US" dirty="0"/>
              <a:t>add info needed </a:t>
            </a:r>
          </a:p>
          <a:p>
            <a:r>
              <a:rPr lang="en-US" dirty="0"/>
              <a:t>for every slide</a:t>
            </a:r>
          </a:p>
        </p:txBody>
      </p:sp>
      <p:sp>
        <p:nvSpPr>
          <p:cNvPr id="73" name="Fußzeilenplatzhalter 2">
            <a:extLst>
              <a:ext uri="{FF2B5EF4-FFF2-40B4-BE49-F238E27FC236}">
                <a16:creationId xmlns:a16="http://schemas.microsoft.com/office/drawing/2014/main" id="{6CD5B2C7-7146-420C-9B79-C2F58C8EC8B7}"/>
              </a:ext>
            </a:extLst>
          </p:cNvPr>
          <p:cNvSpPr txBox="1">
            <a:spLocks/>
          </p:cNvSpPr>
          <p:nvPr userDrawn="1"/>
        </p:nvSpPr>
        <p:spPr>
          <a:xfrm flipH="1">
            <a:off x="1035946" y="5003805"/>
            <a:ext cx="1506431" cy="92333"/>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GB" b="1" cap="none" dirty="0" err="1"/>
              <a:t>gft.com</a:t>
            </a:r>
            <a:endParaRPr lang="en-GB" b="1" cap="none" dirty="0"/>
          </a:p>
        </p:txBody>
      </p:sp>
      <p:sp>
        <p:nvSpPr>
          <p:cNvPr id="74" name="Rechteck 50">
            <a:extLst>
              <a:ext uri="{FF2B5EF4-FFF2-40B4-BE49-F238E27FC236}">
                <a16:creationId xmlns:a16="http://schemas.microsoft.com/office/drawing/2014/main" id="{0FC7680B-C05B-42C6-A57D-773FA59824E0}"/>
              </a:ext>
            </a:extLst>
          </p:cNvPr>
          <p:cNvSpPr>
            <a:spLocks noChangeAspect="1"/>
          </p:cNvSpPr>
          <p:nvPr userDrawn="1"/>
        </p:nvSpPr>
        <p:spPr bwMode="gray">
          <a:xfrm rot="2700000">
            <a:off x="976762" y="5038862"/>
            <a:ext cx="32400" cy="32400"/>
          </a:xfrm>
          <a:custGeom>
            <a:avLst/>
            <a:gdLst/>
            <a:ahLst/>
            <a:cxnLst/>
            <a:rect l="l" t="t" r="r" b="b"/>
            <a:pathLst>
              <a:path w="379268" h="379268">
                <a:moveTo>
                  <a:pt x="0" y="0"/>
                </a:moveTo>
                <a:lnTo>
                  <a:pt x="379268" y="0"/>
                </a:lnTo>
                <a:lnTo>
                  <a:pt x="379268" y="379268"/>
                </a:lnTo>
                <a:lnTo>
                  <a:pt x="250681" y="379268"/>
                </a:lnTo>
                <a:lnTo>
                  <a:pt x="250681" y="128587"/>
                </a:lnTo>
                <a:lnTo>
                  <a:pt x="0" y="128587"/>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dirty="0">
              <a:solidFill>
                <a:schemeClr val="tx1"/>
              </a:solidFill>
            </a:endParaRPr>
          </a:p>
        </p:txBody>
      </p:sp>
    </p:spTree>
    <p:custDataLst>
      <p:tags r:id="rId21"/>
    </p:custDataLst>
    <p:extLst>
      <p:ext uri="{BB962C8B-B14F-4D97-AF65-F5344CB8AC3E}">
        <p14:creationId xmlns:p14="http://schemas.microsoft.com/office/powerpoint/2010/main" val="1219859992"/>
      </p:ext>
    </p:extLst>
  </p:cSld>
  <p:clrMap bg1="lt1" tx1="dk1" bg2="lt2" tx2="dk2" accent1="accent1" accent2="accent2" accent3="accent3" accent4="accent4" accent5="accent5" accent6="accent6" hlink="hlink" folHlink="folHlink"/>
  <p:sldLayoutIdLst>
    <p:sldLayoutId id="2147483682" r:id="rId1"/>
    <p:sldLayoutId id="2147483696" r:id="rId2"/>
    <p:sldLayoutId id="2147483690" r:id="rId3"/>
    <p:sldLayoutId id="2147483692" r:id="rId4"/>
    <p:sldLayoutId id="2147483691" r:id="rId5"/>
    <p:sldLayoutId id="2147483693" r:id="rId6"/>
    <p:sldLayoutId id="2147483681" r:id="rId7"/>
    <p:sldLayoutId id="2147483680" r:id="rId8"/>
    <p:sldLayoutId id="2147483665" r:id="rId9"/>
    <p:sldLayoutId id="2147483683" r:id="rId10"/>
    <p:sldLayoutId id="2147483686" r:id="rId11"/>
    <p:sldLayoutId id="2147483698" r:id="rId12"/>
    <p:sldLayoutId id="2147483688" r:id="rId13"/>
    <p:sldLayoutId id="2147483714" r:id="rId14"/>
    <p:sldLayoutId id="2147483715" r:id="rId15"/>
    <p:sldLayoutId id="2147483716" r:id="rId16"/>
    <p:sldLayoutId id="2147483717" r:id="rId17"/>
    <p:sldLayoutId id="2147483718" r:id="rId18"/>
    <p:sldLayoutId id="2147483719" r:id="rId19"/>
  </p:sldLayoutIdLst>
  <p:hf sldNum="0" hdr="0"/>
  <p:txStyles>
    <p:titleStyle>
      <a:lvl1pPr algn="l" defTabSz="914400" rtl="0" eaLnBrk="1" latinLnBrk="0" hangingPunct="1">
        <a:lnSpc>
          <a:spcPct val="90000"/>
        </a:lnSpc>
        <a:spcBef>
          <a:spcPct val="0"/>
        </a:spcBef>
        <a:buNone/>
        <a:defRPr lang="de-DE" sz="2000" b="1" kern="1200" dirty="0">
          <a:solidFill>
            <a:schemeClr val="tx1"/>
          </a:solidFill>
          <a:latin typeface="+mn-lt"/>
          <a:ea typeface="Geneva" pitchFamily="-128" charset="-128"/>
          <a:cs typeface="+mj-cs"/>
        </a:defRPr>
      </a:lvl1pPr>
    </p:titleStyle>
    <p:body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30" userDrawn="1">
          <p15:clr>
            <a:srgbClr val="F26B43"/>
          </p15:clr>
        </p15:guide>
        <p15:guide id="2" pos="117" userDrawn="1">
          <p15:clr>
            <a:srgbClr val="F26B43"/>
          </p15:clr>
        </p15:guide>
        <p15:guide id="3" pos="5643" userDrawn="1">
          <p15:clr>
            <a:srgbClr val="F26B43"/>
          </p15:clr>
        </p15:guide>
        <p15:guide id="4" pos="615" userDrawn="1">
          <p15:clr>
            <a:srgbClr val="F26B43"/>
          </p15:clr>
        </p15:guide>
        <p15:guide id="5" pos="1119" userDrawn="1">
          <p15:clr>
            <a:srgbClr val="F26B43"/>
          </p15:clr>
        </p15:guide>
        <p15:guide id="6" pos="1622" userDrawn="1">
          <p15:clr>
            <a:srgbClr val="F26B43"/>
          </p15:clr>
        </p15:guide>
        <p15:guide id="7" pos="2124" userDrawn="1">
          <p15:clr>
            <a:srgbClr val="F26B43"/>
          </p15:clr>
        </p15:guide>
        <p15:guide id="8" pos="2628" userDrawn="1">
          <p15:clr>
            <a:srgbClr val="F26B43"/>
          </p15:clr>
        </p15:guide>
        <p15:guide id="9" pos="3132" userDrawn="1">
          <p15:clr>
            <a:srgbClr val="F26B43"/>
          </p15:clr>
        </p15:guide>
        <p15:guide id="10" pos="3635" userDrawn="1">
          <p15:clr>
            <a:srgbClr val="F26B43"/>
          </p15:clr>
        </p15:guide>
        <p15:guide id="11" pos="4137" userDrawn="1">
          <p15:clr>
            <a:srgbClr val="F26B43"/>
          </p15:clr>
        </p15:guide>
        <p15:guide id="12" pos="5144" userDrawn="1">
          <p15:clr>
            <a:srgbClr val="F26B43"/>
          </p15:clr>
        </p15:guide>
        <p15:guide id="13" pos="4640" userDrawn="1">
          <p15:clr>
            <a:srgbClr val="F26B43"/>
          </p15:clr>
        </p15:guide>
        <p15:guide id="15" orient="horz" pos="276" userDrawn="1">
          <p15:clr>
            <a:srgbClr val="F26B43"/>
          </p15:clr>
        </p15:guide>
        <p15:guide id="16" orient="horz" pos="795" userDrawn="1">
          <p15:clr>
            <a:srgbClr val="F26B43"/>
          </p15:clr>
        </p15:guide>
        <p15:guide id="17" orient="horz" pos="2267" userDrawn="1">
          <p15:clr>
            <a:srgbClr val="F26B43"/>
          </p15:clr>
        </p15:guide>
        <p15:guide id="18" orient="horz" pos="3123" userDrawn="1">
          <p15:clr>
            <a:srgbClr val="F26B43"/>
          </p15:clr>
        </p15:guide>
        <p15:guide id="19" orient="horz" pos="395" userDrawn="1">
          <p15:clr>
            <a:srgbClr val="F26B43"/>
          </p15:clr>
        </p15:guide>
        <p15:guide id="20" orient="horz" pos="300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1" name="Objekt 30" hidden="1"/>
          <p:cNvGraphicFramePr>
            <a:graphicFrameLocks noChangeAspect="1"/>
          </p:cNvGraphicFramePr>
          <p:nvPr>
            <p:custDataLst>
              <p:tags r:id="rId17"/>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18" imgW="270" imgH="270" progId="TCLayout.ActiveDocument.1">
                  <p:embed/>
                </p:oleObj>
              </mc:Choice>
              <mc:Fallback>
                <p:oleObj name="think-cell Folie" r:id="rId18" imgW="270" imgH="270" progId="TCLayout.ActiveDocument.1">
                  <p:embed/>
                  <p:pic>
                    <p:nvPicPr>
                      <p:cNvPr id="31" name="Objekt 30" hidden="1"/>
                      <p:cNvPicPr/>
                      <p:nvPr/>
                    </p:nvPicPr>
                    <p:blipFill>
                      <a:blip r:embed="rId19"/>
                      <a:stretch>
                        <a:fillRect/>
                      </a:stretch>
                    </p:blipFill>
                    <p:spPr>
                      <a:xfrm>
                        <a:off x="1589" y="1192"/>
                        <a:ext cx="1587" cy="1190"/>
                      </a:xfrm>
                      <a:prstGeom prst="rect">
                        <a:avLst/>
                      </a:prstGeom>
                    </p:spPr>
                  </p:pic>
                </p:oleObj>
              </mc:Fallback>
            </mc:AlternateContent>
          </a:graphicData>
        </a:graphic>
      </p:graphicFrame>
      <p:sp>
        <p:nvSpPr>
          <p:cNvPr id="6" name="Rechteck 5"/>
          <p:cNvSpPr/>
          <p:nvPr/>
        </p:nvSpPr>
        <p:spPr>
          <a:xfrm>
            <a:off x="186532" y="441325"/>
            <a:ext cx="8774906" cy="4519613"/>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endParaRPr>
          </a:p>
        </p:txBody>
      </p:sp>
      <p:sp>
        <p:nvSpPr>
          <p:cNvPr id="26" name="Textfeld 26"/>
          <p:cNvSpPr txBox="1">
            <a:spLocks noChangeArrowheads="1"/>
          </p:cNvSpPr>
          <p:nvPr/>
        </p:nvSpPr>
        <p:spPr bwMode="gray">
          <a:xfrm>
            <a:off x="8273941" y="5003805"/>
            <a:ext cx="158698" cy="92333"/>
          </a:xfrm>
          <a:prstGeom prst="rect">
            <a:avLst/>
          </a:prstGeom>
          <a:noFill/>
          <a:ln w="9525">
            <a:noFill/>
            <a:miter lim="800000"/>
            <a:headEnd/>
            <a:tailEnd/>
          </a:ln>
        </p:spPr>
        <p:txBody>
          <a:bodyPr wrap="none" lIns="0" tIns="0" rIns="0" bIns="0" anchor="ctr">
            <a:spAutoFit/>
          </a:bodyPr>
          <a:lstStyle/>
          <a:p>
            <a:pPr algn="l" defTabSz="685800"/>
            <a:fld id="{7D6EB20D-04D2-4A2D-94DA-2F197CC5CE85}" type="slidenum">
              <a:rPr lang="en-GB" sz="600" b="1" noProof="0" smtClean="0">
                <a:solidFill>
                  <a:schemeClr val="tx1"/>
                </a:solidFill>
              </a:rPr>
              <a:pPr algn="l" defTabSz="685800"/>
              <a:t>‹#›</a:t>
            </a:fld>
            <a:endParaRPr lang="en-GB" sz="600" b="1" noProof="0" dirty="0">
              <a:solidFill>
                <a:schemeClr val="tx1"/>
              </a:solidFill>
            </a:endParaRPr>
          </a:p>
        </p:txBody>
      </p:sp>
      <p:sp>
        <p:nvSpPr>
          <p:cNvPr id="29"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A333EC8B-9046-4183-A510-B03C1D638B42}" type="datetime1">
              <a:rPr lang="en-GB" smtClean="0"/>
              <a:t>02/12/2021</a:t>
            </a:fld>
            <a:endParaRPr lang="en-GB" dirty="0"/>
          </a:p>
        </p:txBody>
      </p:sp>
      <p:sp>
        <p:nvSpPr>
          <p:cNvPr id="32" name="Titelplatzhalter 31"/>
          <p:cNvSpPr>
            <a:spLocks noGrp="1"/>
          </p:cNvSpPr>
          <p:nvPr>
            <p:ph type="title"/>
          </p:nvPr>
        </p:nvSpPr>
        <p:spPr>
          <a:xfrm>
            <a:off x="978102" y="663575"/>
            <a:ext cx="7185713" cy="387798"/>
          </a:xfrm>
          <a:prstGeom prst="rect">
            <a:avLst/>
          </a:prstGeom>
        </p:spPr>
        <p:txBody>
          <a:bodyPr vert="horz" wrap="square" lIns="0" tIns="0" rIns="0" bIns="0" rtlCol="0" anchor="t">
            <a:spAutoFit/>
          </a:bodyPr>
          <a:lstStyle/>
          <a:p>
            <a:r>
              <a:rPr lang="en-GB" dirty="0"/>
              <a:t>Headline</a:t>
            </a:r>
          </a:p>
        </p:txBody>
      </p:sp>
      <p:grpSp>
        <p:nvGrpSpPr>
          <p:cNvPr id="2" name="Gruppieren 1"/>
          <p:cNvGrpSpPr/>
          <p:nvPr/>
        </p:nvGrpSpPr>
        <p:grpSpPr>
          <a:xfrm>
            <a:off x="9580801" y="1191"/>
            <a:ext cx="845185" cy="1524309"/>
            <a:chOff x="9580800" y="1588"/>
            <a:chExt cx="845185" cy="2032412"/>
          </a:xfrm>
        </p:grpSpPr>
        <p:sp>
          <p:nvSpPr>
            <p:cNvPr id="34" name="Rechteck 33"/>
            <p:cNvSpPr>
              <a:spLocks/>
            </p:cNvSpPr>
            <p:nvPr userDrawn="1"/>
          </p:nvSpPr>
          <p:spPr bwMode="gray">
            <a:xfrm>
              <a:off x="9580800" y="601670"/>
              <a:ext cx="845185" cy="232168"/>
            </a:xfrm>
            <a:prstGeom prst="rect">
              <a:avLst/>
            </a:prstGeom>
            <a:solidFill>
              <a:schemeClr val="accent3"/>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700" dirty="0">
                  <a:solidFill>
                    <a:schemeClr val="bg1"/>
                  </a:solidFill>
                </a:rPr>
                <a:t>R0 G152 B176</a:t>
              </a:r>
            </a:p>
          </p:txBody>
        </p:sp>
        <p:sp>
          <p:nvSpPr>
            <p:cNvPr id="35" name="Rechteck 34"/>
            <p:cNvSpPr/>
            <p:nvPr userDrawn="1"/>
          </p:nvSpPr>
          <p:spPr bwMode="gray">
            <a:xfrm>
              <a:off x="9580800" y="1501793"/>
              <a:ext cx="845185" cy="232168"/>
            </a:xfrm>
            <a:prstGeom prst="rect">
              <a:avLst/>
            </a:prstGeom>
            <a:solidFill>
              <a:schemeClr val="accent5"/>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700" dirty="0">
                  <a:solidFill>
                    <a:schemeClr val="bg1"/>
                  </a:solidFill>
                </a:rPr>
                <a:t>R204 G204 B204</a:t>
              </a:r>
            </a:p>
          </p:txBody>
        </p:sp>
        <p:sp>
          <p:nvSpPr>
            <p:cNvPr id="36" name="Rechteck 35"/>
            <p:cNvSpPr>
              <a:spLocks/>
            </p:cNvSpPr>
            <p:nvPr userDrawn="1"/>
          </p:nvSpPr>
          <p:spPr bwMode="gray">
            <a:xfrm>
              <a:off x="9580800" y="301629"/>
              <a:ext cx="845185" cy="232168"/>
            </a:xfrm>
            <a:prstGeom prst="rect">
              <a:avLst/>
            </a:prstGeom>
            <a:solidFill>
              <a:schemeClr val="accent2"/>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700" dirty="0">
                  <a:solidFill>
                    <a:schemeClr val="bg1"/>
                  </a:solidFill>
                </a:rPr>
                <a:t>R0 G151 B217</a:t>
              </a:r>
            </a:p>
          </p:txBody>
        </p:sp>
        <p:sp>
          <p:nvSpPr>
            <p:cNvPr id="37" name="Rechteck 36"/>
            <p:cNvSpPr/>
            <p:nvPr userDrawn="1"/>
          </p:nvSpPr>
          <p:spPr bwMode="gray">
            <a:xfrm>
              <a:off x="9580800" y="1588"/>
              <a:ext cx="845185" cy="232168"/>
            </a:xfrm>
            <a:prstGeom prst="rect">
              <a:avLst/>
            </a:prstGeom>
            <a:solidFill>
              <a:schemeClr val="accent1"/>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700" dirty="0">
                  <a:solidFill>
                    <a:schemeClr val="bg1"/>
                  </a:solidFill>
                </a:rPr>
                <a:t>R33 G62 B127</a:t>
              </a:r>
            </a:p>
          </p:txBody>
        </p:sp>
        <p:sp>
          <p:nvSpPr>
            <p:cNvPr id="38" name="Rechteck 37"/>
            <p:cNvSpPr/>
            <p:nvPr userDrawn="1"/>
          </p:nvSpPr>
          <p:spPr bwMode="gray">
            <a:xfrm>
              <a:off x="9580800" y="901711"/>
              <a:ext cx="845185" cy="232168"/>
            </a:xfrm>
            <a:prstGeom prst="rect">
              <a:avLst/>
            </a:prstGeom>
            <a:solidFill>
              <a:schemeClr val="tx2"/>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700" dirty="0">
                  <a:solidFill>
                    <a:schemeClr val="bg1"/>
                  </a:solidFill>
                </a:rPr>
                <a:t>R77 G77 B77</a:t>
              </a:r>
            </a:p>
          </p:txBody>
        </p:sp>
        <p:sp>
          <p:nvSpPr>
            <p:cNvPr id="39" name="Rechteck 38"/>
            <p:cNvSpPr/>
            <p:nvPr userDrawn="1"/>
          </p:nvSpPr>
          <p:spPr bwMode="gray">
            <a:xfrm>
              <a:off x="9580800" y="1201752"/>
              <a:ext cx="845185" cy="232168"/>
            </a:xfrm>
            <a:prstGeom prst="rect">
              <a:avLst/>
            </a:prstGeom>
            <a:solidFill>
              <a:schemeClr val="accent4"/>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700" dirty="0">
                  <a:solidFill>
                    <a:schemeClr val="bg1"/>
                  </a:solidFill>
                </a:rPr>
                <a:t>R166 G166 B166</a:t>
              </a:r>
            </a:p>
          </p:txBody>
        </p:sp>
        <p:sp>
          <p:nvSpPr>
            <p:cNvPr id="40" name="Rechteck 39"/>
            <p:cNvSpPr/>
            <p:nvPr userDrawn="1"/>
          </p:nvSpPr>
          <p:spPr bwMode="gray">
            <a:xfrm>
              <a:off x="9580800" y="1801832"/>
              <a:ext cx="845185" cy="232168"/>
            </a:xfrm>
            <a:prstGeom prst="rect">
              <a:avLst/>
            </a:prstGeom>
            <a:solidFill>
              <a:schemeClr val="accent6"/>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700" dirty="0">
                  <a:solidFill>
                    <a:schemeClr val="tx2"/>
                  </a:solidFill>
                </a:rPr>
                <a:t>R237 G237 B237</a:t>
              </a:r>
            </a:p>
          </p:txBody>
        </p:sp>
      </p:grpSp>
      <p:grpSp>
        <p:nvGrpSpPr>
          <p:cNvPr id="7" name="Gruppieren 6"/>
          <p:cNvGrpSpPr/>
          <p:nvPr/>
        </p:nvGrpSpPr>
        <p:grpSpPr>
          <a:xfrm>
            <a:off x="7767501" y="106363"/>
            <a:ext cx="1193937" cy="221456"/>
            <a:chOff x="8174038" y="147638"/>
            <a:chExt cx="787400" cy="146050"/>
          </a:xfrm>
        </p:grpSpPr>
        <p:sp>
          <p:nvSpPr>
            <p:cNvPr id="3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33"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59"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0"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1"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2"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63" name="Rectangle 92"/>
          <p:cNvSpPr>
            <a:spLocks noChangeArrowheads="1"/>
          </p:cNvSpPr>
          <p:nvPr/>
        </p:nvSpPr>
        <p:spPr bwMode="auto">
          <a:xfrm>
            <a:off x="8169275" y="5016634"/>
            <a:ext cx="68263" cy="666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solidFill>
                <a:srgbClr val="000000"/>
              </a:solidFill>
            </a:endParaRPr>
          </a:p>
        </p:txBody>
      </p:sp>
      <p:sp>
        <p:nvSpPr>
          <p:cNvPr id="67" name="Textplatzhalter 66"/>
          <p:cNvSpPr>
            <a:spLocks noGrp="1"/>
          </p:cNvSpPr>
          <p:nvPr>
            <p:ph type="body" idx="1"/>
          </p:nvPr>
        </p:nvSpPr>
        <p:spPr>
          <a:xfrm>
            <a:off x="978102" y="1573213"/>
            <a:ext cx="7185713" cy="1166473"/>
          </a:xfrm>
          <a:prstGeom prst="rect">
            <a:avLst/>
          </a:prstGeom>
        </p:spPr>
        <p:txBody>
          <a:bodyPr vert="horz" lIns="0" tIns="0" rIns="0" bIns="0" rtlCol="0">
            <a:spAutoFit/>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5" name="Fußzeilenplatzhalter 2"/>
          <p:cNvSpPr txBox="1">
            <a:spLocks/>
          </p:cNvSpPr>
          <p:nvPr/>
        </p:nvSpPr>
        <p:spPr>
          <a:xfrm flipH="1">
            <a:off x="5772150" y="4996662"/>
            <a:ext cx="796958" cy="99476"/>
          </a:xfrm>
          <a:prstGeom prst="rect">
            <a:avLst/>
          </a:prstGeom>
          <a:noFill/>
          <a:ln w="9525">
            <a:noFill/>
            <a:miter lim="800000"/>
            <a:headEnd/>
            <a:tailEnd/>
          </a:ln>
        </p:spPr>
        <p:txBody>
          <a:bodyPr wrap="square" lIns="0" tIns="0" rIns="0" bIns="0" anchor="ctr">
            <a:no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GB" dirty="0">
                <a:solidFill>
                  <a:schemeClr val="tx1"/>
                </a:solidFill>
              </a:rPr>
              <a:t>CONFIDENTIAL</a:t>
            </a:r>
          </a:p>
        </p:txBody>
      </p:sp>
      <p:sp>
        <p:nvSpPr>
          <p:cNvPr id="66" name="Fußzeilenplatzhalter 2"/>
          <p:cNvSpPr txBox="1">
            <a:spLocks/>
          </p:cNvSpPr>
          <p:nvPr/>
        </p:nvSpPr>
        <p:spPr>
          <a:xfrm flipH="1">
            <a:off x="982663" y="5003805"/>
            <a:ext cx="1576044" cy="92333"/>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GB" sz="600" b="1" kern="1200" cap="all" baseline="0" dirty="0">
                <a:solidFill>
                  <a:srgbClr val="000000"/>
                </a:solidFill>
                <a:effectLst/>
                <a:latin typeface="+mn-lt"/>
                <a:ea typeface="+mn-ea"/>
                <a:cs typeface="+mn-cs"/>
              </a:rPr>
              <a:t>GFT GROUP</a:t>
            </a:r>
            <a:endParaRPr lang="en-GB" b="1" dirty="0"/>
          </a:p>
        </p:txBody>
      </p:sp>
      <p:grpSp>
        <p:nvGrpSpPr>
          <p:cNvPr id="9" name="Gruppieren 8"/>
          <p:cNvGrpSpPr/>
          <p:nvPr/>
        </p:nvGrpSpPr>
        <p:grpSpPr>
          <a:xfrm>
            <a:off x="-275113" y="-281940"/>
            <a:ext cx="9702165" cy="5739765"/>
            <a:chOff x="-275113" y="-281940"/>
            <a:chExt cx="9702165" cy="5739765"/>
          </a:xfrm>
        </p:grpSpPr>
        <p:cxnSp>
          <p:nvCxnSpPr>
            <p:cNvPr id="47" name="Gerade Verbindung 46"/>
            <p:cNvCxnSpPr/>
            <p:nvPr userDrawn="1"/>
          </p:nvCxnSpPr>
          <p:spPr bwMode="gray">
            <a:xfrm>
              <a:off x="97810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 name="Gerade Verbindung 47"/>
            <p:cNvCxnSpPr/>
            <p:nvPr userDrawn="1"/>
          </p:nvCxnSpPr>
          <p:spPr bwMode="gray">
            <a:xfrm>
              <a:off x="177681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a:off x="257553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a:off x="337424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a:off x="417296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bwMode="gray">
            <a:xfrm>
              <a:off x="497167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bwMode="gray">
            <a:xfrm>
              <a:off x="577039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bwMode="gray">
            <a:xfrm>
              <a:off x="656910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bwMode="gray">
            <a:xfrm>
              <a:off x="736782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bwMode="gray">
            <a:xfrm>
              <a:off x="816653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userDrawn="1"/>
          </p:nvCxnSpPr>
          <p:spPr bwMode="gray">
            <a:xfrm>
              <a:off x="186532"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userDrawn="1"/>
          </p:nvCxnSpPr>
          <p:spPr bwMode="gray">
            <a:xfrm>
              <a:off x="8959057"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71" name="Gruppieren 70"/>
            <p:cNvGrpSpPr/>
            <p:nvPr userDrawn="1"/>
          </p:nvGrpSpPr>
          <p:grpSpPr>
            <a:xfrm>
              <a:off x="186532" y="5290185"/>
              <a:ext cx="8772525" cy="167640"/>
              <a:chOff x="186532" y="-281940"/>
              <a:chExt cx="8772525" cy="708660"/>
            </a:xfrm>
          </p:grpSpPr>
          <p:cxnSp>
            <p:nvCxnSpPr>
              <p:cNvPr id="72" name="Gerade Verbindung 71"/>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0" name="Gerade Verbindung 79"/>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1" name="Gerade Verbindung 80"/>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97" name="Gerade Verbindung 96"/>
            <p:cNvCxnSpPr/>
            <p:nvPr userDrawn="1"/>
          </p:nvCxnSpPr>
          <p:spPr bwMode="gray">
            <a:xfrm rot="16200000">
              <a:off x="-191293" y="355441"/>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userDrawn="1"/>
          </p:nvCxnSpPr>
          <p:spPr bwMode="gray">
            <a:xfrm rot="16200000">
              <a:off x="-191293" y="579755"/>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9" name="Gerade Verbindung 98"/>
            <p:cNvCxnSpPr/>
            <p:nvPr userDrawn="1"/>
          </p:nvCxnSpPr>
          <p:spPr bwMode="gray">
            <a:xfrm rot="16200000">
              <a:off x="-191293"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0" name="Gerade Verbindung 99"/>
            <p:cNvCxnSpPr/>
            <p:nvPr userDrawn="1"/>
          </p:nvCxnSpPr>
          <p:spPr bwMode="gray">
            <a:xfrm rot="16200000">
              <a:off x="-191293"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1" name="Gerade Verbindung 100"/>
            <p:cNvCxnSpPr/>
            <p:nvPr userDrawn="1"/>
          </p:nvCxnSpPr>
          <p:spPr bwMode="gray">
            <a:xfrm rot="16200000">
              <a:off x="9343232" y="3530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2" name="Gerade Verbindung 101"/>
            <p:cNvCxnSpPr/>
            <p:nvPr userDrawn="1"/>
          </p:nvCxnSpPr>
          <p:spPr bwMode="gray">
            <a:xfrm rot="16200000">
              <a:off x="9343232" y="800735"/>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3" name="Gerade Verbindung 102"/>
            <p:cNvCxnSpPr/>
            <p:nvPr userDrawn="1"/>
          </p:nvCxnSpPr>
          <p:spPr bwMode="gray">
            <a:xfrm rot="16200000">
              <a:off x="9343232"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4" name="Gerade Verbindung 103"/>
            <p:cNvCxnSpPr/>
            <p:nvPr userDrawn="1"/>
          </p:nvCxnSpPr>
          <p:spPr bwMode="gray">
            <a:xfrm rot="16200000">
              <a:off x="9343232"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bwMode="gray">
            <a:xfrm rot="16200000">
              <a:off x="-191293" y="14858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bwMode="gray">
            <a:xfrm rot="16200000">
              <a:off x="-191293" y="2616279"/>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4" name="Gerade Verbindung 113"/>
            <p:cNvCxnSpPr/>
            <p:nvPr userDrawn="1"/>
          </p:nvCxnSpPr>
          <p:spPr bwMode="gray">
            <a:xfrm rot="16200000">
              <a:off x="-191293" y="374669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5" name="Gerade Verbindung 114"/>
            <p:cNvCxnSpPr/>
            <p:nvPr userDrawn="1"/>
          </p:nvCxnSpPr>
          <p:spPr bwMode="gray">
            <a:xfrm rot="16200000">
              <a:off x="9343232" y="14858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6" name="Gerade Verbindung 115"/>
            <p:cNvCxnSpPr/>
            <p:nvPr userDrawn="1"/>
          </p:nvCxnSpPr>
          <p:spPr bwMode="gray">
            <a:xfrm rot="16200000">
              <a:off x="9343232" y="2616279"/>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7" name="Gerade Verbindung 116"/>
            <p:cNvCxnSpPr/>
            <p:nvPr userDrawn="1"/>
          </p:nvCxnSpPr>
          <p:spPr bwMode="gray">
            <a:xfrm rot="16200000">
              <a:off x="9343232" y="374669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spTree>
    <p:custDataLst>
      <p:tags r:id="rId16"/>
    </p:custDataLst>
    <p:extLst>
      <p:ext uri="{BB962C8B-B14F-4D97-AF65-F5344CB8AC3E}">
        <p14:creationId xmlns:p14="http://schemas.microsoft.com/office/powerpoint/2010/main" val="1802985961"/>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Lst>
  <p:hf sldNum="0" hdr="0" ftr="0"/>
  <p:txStyles>
    <p:titleStyle>
      <a:lvl1pPr algn="l" defTabSz="914400" rtl="0" eaLnBrk="1" latinLnBrk="0" hangingPunct="1">
        <a:lnSpc>
          <a:spcPct val="90000"/>
        </a:lnSpc>
        <a:spcBef>
          <a:spcPct val="0"/>
        </a:spcBef>
        <a:buNone/>
        <a:defRPr lang="de-DE" sz="2800" b="1" kern="1200" dirty="0">
          <a:solidFill>
            <a:schemeClr val="tx1"/>
          </a:solidFill>
          <a:latin typeface="+mn-lt"/>
          <a:ea typeface="Geneva" pitchFamily="-128" charset="-128"/>
          <a:cs typeface="+mj-cs"/>
        </a:defRPr>
      </a:lvl1pPr>
    </p:titleStyle>
    <p:body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9.png"/><Relationship Id="rId1" Type="http://schemas.openxmlformats.org/officeDocument/2006/relationships/slideLayout" Target="../slideLayouts/slideLayout5.xml"/><Relationship Id="rId6" Type="http://schemas.openxmlformats.org/officeDocument/2006/relationships/image" Target="../media/image17.png"/><Relationship Id="rId5" Type="http://schemas.microsoft.com/office/2007/relationships/hdphoto" Target="../media/hdphoto3.wdp"/><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1.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2.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5.xml"/><Relationship Id="rId5" Type="http://schemas.openxmlformats.org/officeDocument/2006/relationships/image" Target="../media/image17.png"/><Relationship Id="rId4" Type="http://schemas.openxmlformats.org/officeDocument/2006/relationships/image" Target="../media/image35.png"/></Relationships>
</file>

<file path=ppt/slides/_rels/slide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s://www.confluent.io/blog/schema-registry-kafka-stream-processing-yes-virginia-you-really-need-one/" TargetMode="External"/><Relationship Id="rId2" Type="http://schemas.openxmlformats.org/officeDocument/2006/relationships/notesSlide" Target="../notesSlides/notesSlide5.xml"/><Relationship Id="rId1" Type="http://schemas.openxmlformats.org/officeDocument/2006/relationships/slideLayout" Target="../slideLayouts/slideLayout14.xml"/><Relationship Id="rId4" Type="http://schemas.openxmlformats.org/officeDocument/2006/relationships/image" Target="../media/image17.png"/></Relationships>
</file>

<file path=ppt/slides/_rels/slide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6.png"/><Relationship Id="rId1" Type="http://schemas.openxmlformats.org/officeDocument/2006/relationships/slideLayout" Target="../slideLayouts/slideLayout16.xml"/><Relationship Id="rId4" Type="http://schemas.openxmlformats.org/officeDocument/2006/relationships/image" Target="../media/image17.png"/></Relationships>
</file>

<file path=ppt/slides/_rels/slide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7.png"/><Relationship Id="rId5" Type="http://schemas.openxmlformats.org/officeDocument/2006/relationships/image" Target="../media/image18.emf"/><Relationship Id="rId4" Type="http://schemas.openxmlformats.org/officeDocument/2006/relationships/oleObject" Target="../embeddings/oleObject31.bin"/></Relationships>
</file>

<file path=ppt/slides/_rels/slide30.xml.rels><?xml version="1.0" encoding="UTF-8" standalone="yes"?>
<Relationships xmlns="http://schemas.openxmlformats.org/package/2006/relationships"><Relationship Id="rId3" Type="http://schemas.openxmlformats.org/officeDocument/2006/relationships/image" Target="../media/image38.svg"/><Relationship Id="rId7" Type="http://schemas.openxmlformats.org/officeDocument/2006/relationships/image" Target="../media/image17.png"/><Relationship Id="rId2" Type="http://schemas.openxmlformats.org/officeDocument/2006/relationships/image" Target="../media/image37.png"/><Relationship Id="rId1" Type="http://schemas.openxmlformats.org/officeDocument/2006/relationships/slideLayout" Target="../slideLayouts/slideLayout5.xml"/><Relationship Id="rId6" Type="http://schemas.openxmlformats.org/officeDocument/2006/relationships/image" Target="../media/image34.png"/><Relationship Id="rId5" Type="http://schemas.openxmlformats.org/officeDocument/2006/relationships/image" Target="../media/image40.svg"/><Relationship Id="rId4" Type="http://schemas.openxmlformats.org/officeDocument/2006/relationships/image" Target="../media/image39.png"/></Relationships>
</file>

<file path=ppt/slides/_rels/slide31.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Layout" Target="../slideLayouts/slideLayout17.xml"/><Relationship Id="rId4" Type="http://schemas.openxmlformats.org/officeDocument/2006/relationships/image" Target="../media/image17.png"/></Relationships>
</file>

<file path=ppt/slides/_rels/slide3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2.png"/><Relationship Id="rId1" Type="http://schemas.openxmlformats.org/officeDocument/2006/relationships/slideLayout" Target="../slideLayouts/slideLayout18.xml"/><Relationship Id="rId5" Type="http://schemas.openxmlformats.org/officeDocument/2006/relationships/image" Target="../media/image17.png"/><Relationship Id="rId4" Type="http://schemas.openxmlformats.org/officeDocument/2006/relationships/hyperlink" Target="https://www.confluent.io/product/connectors/" TargetMode="External"/></Relationships>
</file>

<file path=ppt/slides/_rels/slide33.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hyperlink" Target="https://gist.githubusercontent.com/rmoff/7571e7187e1b3f9c2b9d1fc42b99fd52/raw/518689053d75e0334fde8a0197da2773de69e28c/%20kafka-connect-file-sink.json" TargetMode="External"/><Relationship Id="rId7" Type="http://schemas.openxmlformats.org/officeDocument/2006/relationships/hyperlink" Target="https://www.confluent.io/blog/simplest-useful-kafka-connect-data-pipeline-world-thereabouts-part-3/" TargetMode="External"/><Relationship Id="rId2" Type="http://schemas.openxmlformats.org/officeDocument/2006/relationships/hyperlink" Target="https://gist.githubusercontent.com/rmoff/85b6f26a592203e70b9366999680ac05/raw/d8ca9e1af8f02c951b8b01c7f29b580d69fdb3dc/kafka-connect-jdbc-source.json" TargetMode="External"/><Relationship Id="rId1" Type="http://schemas.openxmlformats.org/officeDocument/2006/relationships/slideLayout" Target="../slideLayouts/slideLayout19.xml"/><Relationship Id="rId6" Type="http://schemas.openxmlformats.org/officeDocument/2006/relationships/hyperlink" Target="https://www.confluent.io/blog/blogthe-simplest-useful-kafka-connect-data-pipeline-in-the-world-or-thereabouts-part-2/" TargetMode="External"/><Relationship Id="rId5" Type="http://schemas.openxmlformats.org/officeDocument/2006/relationships/hyperlink" Target="https://www.confluent.io/blog/simplest-useful-kafka-connect-data-pipeline-world-thereabouts-part-1/" TargetMode="External"/><Relationship Id="rId10" Type="http://schemas.openxmlformats.org/officeDocument/2006/relationships/image" Target="../media/image17.png"/><Relationship Id="rId4" Type="http://schemas.openxmlformats.org/officeDocument/2006/relationships/hyperlink" Target="https://gist.githubusercontent.com/rmoff/c6b3e1e61339817116c9ab714a7b9744/raw/fb7085acf83a7cf3877dc01d53ebd824019de641/kafka-connect-elasticsearch-sink.json" TargetMode="External"/><Relationship Id="rId9" Type="http://schemas.microsoft.com/office/2007/relationships/hdphoto" Target="../media/hdphoto7.wdp"/></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3.xml"/><Relationship Id="rId1" Type="http://schemas.openxmlformats.org/officeDocument/2006/relationships/tags" Target="../tags/tag80.xml"/></Relationships>
</file>

<file path=ppt/slides/_rels/slide4.xml.rels><?xml version="1.0" encoding="UTF-8" standalone="yes"?>
<Relationships xmlns="http://schemas.openxmlformats.org/package/2006/relationships"><Relationship Id="rId3" Type="http://schemas.openxmlformats.org/officeDocument/2006/relationships/hyperlink" Target="https://www.confluent.io/resources/kafka-the-definitive-guide/" TargetMode="External"/><Relationship Id="rId2" Type="http://schemas.openxmlformats.org/officeDocument/2006/relationships/image" Target="../media/image19.jpeg"/><Relationship Id="rId1" Type="http://schemas.openxmlformats.org/officeDocument/2006/relationships/slideLayout" Target="../slideLayouts/slideLayout4.xml"/><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3.xml"/><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microsoft.com/office/2007/relationships/hdphoto" Target="../media/hdphoto1.wdp"/><Relationship Id="rId5" Type="http://schemas.openxmlformats.org/officeDocument/2006/relationships/image" Target="../media/image24.png"/><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xml"/><Relationship Id="rId1" Type="http://schemas.openxmlformats.org/officeDocument/2006/relationships/slideLayout" Target="../slideLayouts/slideLayout5.xml"/><Relationship Id="rId5" Type="http://schemas.openxmlformats.org/officeDocument/2006/relationships/image" Target="../media/image17.png"/><Relationship Id="rId4" Type="http://schemas.openxmlformats.org/officeDocument/2006/relationships/image" Target="../media/image27.png"/></Relationships>
</file>

<file path=ppt/slides/_rels/slide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79.xml"/><Relationship Id="rId7" Type="http://schemas.openxmlformats.org/officeDocument/2006/relationships/image" Target="../media/image1.emf"/><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oleObject" Target="../embeddings/oleObject32.bin"/><Relationship Id="rId5" Type="http://schemas.openxmlformats.org/officeDocument/2006/relationships/notesSlide" Target="../notesSlides/notesSlide3.xml"/><Relationship Id="rId4" Type="http://schemas.openxmlformats.org/officeDocument/2006/relationships/slideLayout" Target="../slideLayouts/slideLayout5.xml"/><Relationship Id="rId9"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978102" y="4047543"/>
            <a:ext cx="7191172" cy="387798"/>
          </a:xfrm>
        </p:spPr>
        <p:txBody>
          <a:bodyPr/>
          <a:lstStyle/>
          <a:p>
            <a:r>
              <a:rPr lang="en-US" sz="2800" dirty="0"/>
              <a:t>EDEM Edition 2021</a:t>
            </a:r>
          </a:p>
        </p:txBody>
      </p:sp>
      <p:sp>
        <p:nvSpPr>
          <p:cNvPr id="7" name="Title 6"/>
          <p:cNvSpPr>
            <a:spLocks noGrp="1"/>
          </p:cNvSpPr>
          <p:nvPr>
            <p:ph type="title"/>
          </p:nvPr>
        </p:nvSpPr>
        <p:spPr>
          <a:xfrm>
            <a:off x="983561" y="2155153"/>
            <a:ext cx="7185713" cy="590931"/>
          </a:xfrm>
        </p:spPr>
        <p:txBody>
          <a:bodyPr/>
          <a:lstStyle/>
          <a:p>
            <a:r>
              <a:rPr lang="en-US" sz="4800" dirty="0"/>
              <a:t>Apache</a:t>
            </a:r>
            <a:r>
              <a:rPr lang="en-US" dirty="0"/>
              <a:t> Kafka </a:t>
            </a:r>
          </a:p>
        </p:txBody>
      </p:sp>
      <p:sp>
        <p:nvSpPr>
          <p:cNvPr id="4" name="Date Placeholder 3"/>
          <p:cNvSpPr>
            <a:spLocks noGrp="1"/>
          </p:cNvSpPr>
          <p:nvPr>
            <p:ph type="dt" sz="half" idx="4294967295"/>
          </p:nvPr>
        </p:nvSpPr>
        <p:spPr>
          <a:xfrm>
            <a:off x="0" y="5003800"/>
            <a:ext cx="387350" cy="92075"/>
          </a:xfrm>
        </p:spPr>
        <p:txBody>
          <a:bodyPr/>
          <a:lstStyle/>
          <a:p>
            <a:pPr defTabSz="685800"/>
            <a:fld id="{DBEF86FA-B96D-4345-BDDC-824718EE4D18}" type="datetime1">
              <a:rPr lang="en-GB" smtClean="0"/>
              <a:t>02/12/2021</a:t>
            </a:fld>
            <a:endParaRPr lang="en-GB" dirty="0"/>
          </a:p>
        </p:txBody>
      </p:sp>
      <p:sp>
        <p:nvSpPr>
          <p:cNvPr id="6" name="Footer Placeholder 5"/>
          <p:cNvSpPr>
            <a:spLocks noGrp="1"/>
          </p:cNvSpPr>
          <p:nvPr>
            <p:ph type="ftr" sz="quarter" idx="4294967295"/>
          </p:nvPr>
        </p:nvSpPr>
        <p:spPr>
          <a:xfrm>
            <a:off x="0" y="85725"/>
            <a:ext cx="720725" cy="249238"/>
          </a:xfrm>
        </p:spPr>
        <p:txBody>
          <a:bodyPr/>
          <a:lstStyle/>
          <a:p>
            <a:r>
              <a:rPr lang="en-US"/>
              <a:t>Type here if  add info needed  for every slide</a:t>
            </a:r>
            <a:endParaRPr lang="en-US" dirty="0"/>
          </a:p>
        </p:txBody>
      </p:sp>
      <p:pic>
        <p:nvPicPr>
          <p:cNvPr id="9" name="Picture 2" descr="EDEM Escuela de Empresarios, Fundación de la Comunidad Valenciana -  Asociación Valenciana de Fundaciones de la CV">
            <a:extLst>
              <a:ext uri="{FF2B5EF4-FFF2-40B4-BE49-F238E27FC236}">
                <a16:creationId xmlns:a16="http://schemas.microsoft.com/office/drawing/2014/main" id="{AC735B8D-71C0-47CF-8DAB-A95AF64B24B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17985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plicas</a:t>
            </a:r>
          </a:p>
        </p:txBody>
      </p:sp>
      <p:sp>
        <p:nvSpPr>
          <p:cNvPr id="3" name="Date Placeholder 2"/>
          <p:cNvSpPr>
            <a:spLocks noGrp="1"/>
          </p:cNvSpPr>
          <p:nvPr>
            <p:ph type="dt" sz="half" idx="2"/>
          </p:nvPr>
        </p:nvSpPr>
        <p:spPr/>
        <p:txBody>
          <a:bodyPr/>
          <a:lstStyle/>
          <a:p>
            <a:pPr defTabSz="685800"/>
            <a:fld id="{C0C9140A-8AD1-4D8E-9F46-B47E3C53E85F}" type="datetime1">
              <a:rPr lang="en-GB" smtClean="0"/>
              <a:t>02/12/2021</a:t>
            </a:fld>
            <a:endParaRPr lang="en-GB" dirty="0"/>
          </a:p>
        </p:txBody>
      </p:sp>
      <p:sp>
        <p:nvSpPr>
          <p:cNvPr id="5" name="Text Placeholder 4"/>
          <p:cNvSpPr>
            <a:spLocks noGrp="1"/>
          </p:cNvSpPr>
          <p:nvPr>
            <p:ph type="body" sz="quarter" idx="12"/>
          </p:nvPr>
        </p:nvSpPr>
        <p:spPr/>
        <p:txBody>
          <a:bodyPr/>
          <a:lstStyle/>
          <a:p>
            <a:endParaRPr lang="en-US"/>
          </a:p>
        </p:txBody>
      </p:sp>
      <p:sp>
        <p:nvSpPr>
          <p:cNvPr id="6" name="Footer Placeholder 5"/>
          <p:cNvSpPr>
            <a:spLocks noGrp="1"/>
          </p:cNvSpPr>
          <p:nvPr>
            <p:ph type="ftr" sz="quarter" idx="13"/>
          </p:nvPr>
        </p:nvSpPr>
        <p:spPr/>
        <p:txBody>
          <a:bodyPr/>
          <a:lstStyle/>
          <a:p>
            <a:r>
              <a:rPr lang="en-US"/>
              <a:t>Type here if  add info needed  for every slide</a:t>
            </a:r>
            <a:endParaRPr lang="en-US" dirty="0"/>
          </a:p>
        </p:txBody>
      </p:sp>
      <p:cxnSp>
        <p:nvCxnSpPr>
          <p:cNvPr id="7" name="Straight Arrow Connector 6"/>
          <p:cNvCxnSpPr>
            <a:endCxn id="64" idx="2"/>
          </p:cNvCxnSpPr>
          <p:nvPr/>
        </p:nvCxnSpPr>
        <p:spPr bwMode="gray">
          <a:xfrm flipH="1">
            <a:off x="5236725" y="4236564"/>
            <a:ext cx="2638208" cy="17947"/>
          </a:xfrm>
          <a:prstGeom prst="straightConnector1">
            <a:avLst/>
          </a:prstGeom>
          <a:ln w="190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a:endCxn id="56" idx="4"/>
          </p:cNvCxnSpPr>
          <p:nvPr/>
        </p:nvCxnSpPr>
        <p:spPr bwMode="gray">
          <a:xfrm>
            <a:off x="6406717" y="2438511"/>
            <a:ext cx="1487481" cy="808"/>
          </a:xfrm>
          <a:prstGeom prst="straightConnector1">
            <a:avLst/>
          </a:prstGeom>
          <a:ln w="190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bwMode="gray">
          <a:xfrm>
            <a:off x="5261663" y="1409797"/>
            <a:ext cx="1527742" cy="8156"/>
          </a:xfrm>
          <a:prstGeom prst="straightConnector1">
            <a:avLst/>
          </a:prstGeom>
          <a:ln w="190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bwMode="gray">
          <a:xfrm flipV="1">
            <a:off x="5261663" y="1260423"/>
            <a:ext cx="379254" cy="1"/>
          </a:xfrm>
          <a:prstGeom prst="straightConnector1">
            <a:avLst/>
          </a:prstGeom>
          <a:ln w="190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4330978" y="785329"/>
            <a:ext cx="1030544" cy="3828809"/>
          </a:xfrm>
          <a:prstGeom prst="rect">
            <a:avLst/>
          </a:prstGeom>
          <a:noFill/>
          <a:ln w="1270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grpSp>
        <p:nvGrpSpPr>
          <p:cNvPr id="13" name="Group 12"/>
          <p:cNvGrpSpPr/>
          <p:nvPr/>
        </p:nvGrpSpPr>
        <p:grpSpPr>
          <a:xfrm>
            <a:off x="4482623" y="847256"/>
            <a:ext cx="748100" cy="859881"/>
            <a:chOff x="7891893" y="1185046"/>
            <a:chExt cx="517067" cy="599797"/>
          </a:xfrm>
        </p:grpSpPr>
        <p:grpSp>
          <p:nvGrpSpPr>
            <p:cNvPr id="14" name="Group 13"/>
            <p:cNvGrpSpPr/>
            <p:nvPr/>
          </p:nvGrpSpPr>
          <p:grpSpPr>
            <a:xfrm>
              <a:off x="7891893" y="1185046"/>
              <a:ext cx="517067" cy="599797"/>
              <a:chOff x="6708741" y="967041"/>
              <a:chExt cx="1144680" cy="1327828"/>
            </a:xfrm>
          </p:grpSpPr>
          <p:sp>
            <p:nvSpPr>
              <p:cNvPr id="16" name="Hexagon 15"/>
              <p:cNvSpPr/>
              <p:nvPr/>
            </p:nvSpPr>
            <p:spPr>
              <a:xfrm rot="16200000">
                <a:off x="6617167" y="1058615"/>
                <a:ext cx="1327828" cy="1144680"/>
              </a:xfrm>
              <a:prstGeom prst="hexagon">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7" name="Hexagon 16"/>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grpSp>
        <p:sp>
          <p:nvSpPr>
            <p:cNvPr id="15" name="TextBox 14"/>
            <p:cNvSpPr txBox="1"/>
            <p:nvPr/>
          </p:nvSpPr>
          <p:spPr>
            <a:xfrm>
              <a:off x="7971691" y="1444379"/>
              <a:ext cx="358977" cy="96608"/>
            </a:xfrm>
            <a:prstGeom prst="rect">
              <a:avLst/>
            </a:prstGeom>
            <a:noFill/>
          </p:spPr>
          <p:txBody>
            <a:bodyPr wrap="none" lIns="0" tIns="0" rIns="0" bIns="0" rtlCol="0">
              <a:spAutoFit/>
            </a:bodyPr>
            <a:lstStyle/>
            <a:p>
              <a:pPr algn="ctr"/>
              <a:r>
                <a:rPr lang="es-ES" sz="900" dirty="0"/>
                <a:t>Partition 1</a:t>
              </a:r>
              <a:endParaRPr lang="en-GB" sz="2000" dirty="0" err="1"/>
            </a:p>
          </p:txBody>
        </p:sp>
      </p:grpSp>
      <p:grpSp>
        <p:nvGrpSpPr>
          <p:cNvPr id="18" name="Group 17"/>
          <p:cNvGrpSpPr/>
          <p:nvPr/>
        </p:nvGrpSpPr>
        <p:grpSpPr>
          <a:xfrm>
            <a:off x="5632917" y="1764187"/>
            <a:ext cx="748100" cy="859881"/>
            <a:chOff x="7891893" y="1185046"/>
            <a:chExt cx="517067" cy="599797"/>
          </a:xfrm>
        </p:grpSpPr>
        <p:grpSp>
          <p:nvGrpSpPr>
            <p:cNvPr id="19" name="Group 18"/>
            <p:cNvGrpSpPr/>
            <p:nvPr/>
          </p:nvGrpSpPr>
          <p:grpSpPr>
            <a:xfrm>
              <a:off x="7891893" y="1185046"/>
              <a:ext cx="517067" cy="599797"/>
              <a:chOff x="6708741" y="967041"/>
              <a:chExt cx="1144680" cy="1327828"/>
            </a:xfrm>
          </p:grpSpPr>
          <p:sp>
            <p:nvSpPr>
              <p:cNvPr id="21" name="Hexagon 20"/>
              <p:cNvSpPr/>
              <p:nvPr/>
            </p:nvSpPr>
            <p:spPr>
              <a:xfrm rot="16200000">
                <a:off x="6617167" y="1058615"/>
                <a:ext cx="1327828" cy="1144680"/>
              </a:xfrm>
              <a:prstGeom prst="hexagon">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22" name="Hexagon 21"/>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grpSp>
        <p:sp>
          <p:nvSpPr>
            <p:cNvPr id="20" name="TextBox 19"/>
            <p:cNvSpPr txBox="1"/>
            <p:nvPr/>
          </p:nvSpPr>
          <p:spPr>
            <a:xfrm>
              <a:off x="7971694" y="1438777"/>
              <a:ext cx="358977" cy="96608"/>
            </a:xfrm>
            <a:prstGeom prst="rect">
              <a:avLst/>
            </a:prstGeom>
            <a:noFill/>
          </p:spPr>
          <p:txBody>
            <a:bodyPr wrap="none" lIns="0" tIns="0" rIns="0" bIns="0" rtlCol="0">
              <a:spAutoFit/>
            </a:bodyPr>
            <a:lstStyle/>
            <a:p>
              <a:r>
                <a:rPr lang="es-ES" sz="900" dirty="0"/>
                <a:t>Partition 2</a:t>
              </a:r>
              <a:endParaRPr lang="en-GB" sz="2000" dirty="0" err="1"/>
            </a:p>
          </p:txBody>
        </p:sp>
      </p:grpSp>
      <p:grpSp>
        <p:nvGrpSpPr>
          <p:cNvPr id="23" name="Group 22"/>
          <p:cNvGrpSpPr/>
          <p:nvPr/>
        </p:nvGrpSpPr>
        <p:grpSpPr>
          <a:xfrm>
            <a:off x="6759889" y="2660748"/>
            <a:ext cx="748100" cy="859881"/>
            <a:chOff x="7891893" y="1185046"/>
            <a:chExt cx="517067" cy="599797"/>
          </a:xfrm>
        </p:grpSpPr>
        <p:grpSp>
          <p:nvGrpSpPr>
            <p:cNvPr id="24" name="Group 23"/>
            <p:cNvGrpSpPr/>
            <p:nvPr/>
          </p:nvGrpSpPr>
          <p:grpSpPr>
            <a:xfrm>
              <a:off x="7891893" y="1185046"/>
              <a:ext cx="517067" cy="599797"/>
              <a:chOff x="6708741" y="967041"/>
              <a:chExt cx="1144680" cy="1327828"/>
            </a:xfrm>
          </p:grpSpPr>
          <p:sp>
            <p:nvSpPr>
              <p:cNvPr id="26" name="Hexagon 25"/>
              <p:cNvSpPr/>
              <p:nvPr/>
            </p:nvSpPr>
            <p:spPr>
              <a:xfrm rot="16200000">
                <a:off x="6617167" y="1058615"/>
                <a:ext cx="1327828" cy="1144680"/>
              </a:xfrm>
              <a:prstGeom prst="hexagon">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27" name="Hexagon 26"/>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grpSp>
        <p:sp>
          <p:nvSpPr>
            <p:cNvPr id="25" name="TextBox 24"/>
            <p:cNvSpPr txBox="1"/>
            <p:nvPr/>
          </p:nvSpPr>
          <p:spPr>
            <a:xfrm>
              <a:off x="7971691" y="1438777"/>
              <a:ext cx="358977" cy="96608"/>
            </a:xfrm>
            <a:prstGeom prst="rect">
              <a:avLst/>
            </a:prstGeom>
            <a:noFill/>
          </p:spPr>
          <p:txBody>
            <a:bodyPr wrap="none" lIns="0" tIns="0" rIns="0" bIns="0" rtlCol="0">
              <a:spAutoFit/>
            </a:bodyPr>
            <a:lstStyle/>
            <a:p>
              <a:r>
                <a:rPr lang="es-ES" sz="900" dirty="0"/>
                <a:t>Partition 3</a:t>
              </a:r>
              <a:endParaRPr lang="en-GB" sz="2000" dirty="0" err="1"/>
            </a:p>
          </p:txBody>
        </p:sp>
      </p:grpSp>
      <p:grpSp>
        <p:nvGrpSpPr>
          <p:cNvPr id="28" name="Group 27"/>
          <p:cNvGrpSpPr/>
          <p:nvPr/>
        </p:nvGrpSpPr>
        <p:grpSpPr>
          <a:xfrm>
            <a:off x="7878714" y="3578177"/>
            <a:ext cx="748100" cy="859881"/>
            <a:chOff x="7891893" y="1185046"/>
            <a:chExt cx="517067" cy="599797"/>
          </a:xfrm>
        </p:grpSpPr>
        <p:grpSp>
          <p:nvGrpSpPr>
            <p:cNvPr id="29" name="Group 28"/>
            <p:cNvGrpSpPr/>
            <p:nvPr/>
          </p:nvGrpSpPr>
          <p:grpSpPr>
            <a:xfrm>
              <a:off x="7891893" y="1185046"/>
              <a:ext cx="517067" cy="599797"/>
              <a:chOff x="6708741" y="967041"/>
              <a:chExt cx="1144680" cy="1327828"/>
            </a:xfrm>
          </p:grpSpPr>
          <p:sp>
            <p:nvSpPr>
              <p:cNvPr id="31" name="Hexagon 30"/>
              <p:cNvSpPr/>
              <p:nvPr/>
            </p:nvSpPr>
            <p:spPr>
              <a:xfrm rot="16200000">
                <a:off x="6617167" y="1058615"/>
                <a:ext cx="1327828" cy="1144680"/>
              </a:xfrm>
              <a:prstGeom prst="hexagon">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32" name="Hexagon 31"/>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grpSp>
        <p:sp>
          <p:nvSpPr>
            <p:cNvPr id="30" name="TextBox 29"/>
            <p:cNvSpPr txBox="1"/>
            <p:nvPr/>
          </p:nvSpPr>
          <p:spPr>
            <a:xfrm>
              <a:off x="7971691" y="1438777"/>
              <a:ext cx="358977" cy="96608"/>
            </a:xfrm>
            <a:prstGeom prst="rect">
              <a:avLst/>
            </a:prstGeom>
            <a:noFill/>
          </p:spPr>
          <p:txBody>
            <a:bodyPr wrap="none" lIns="0" tIns="0" rIns="0" bIns="0" rtlCol="0">
              <a:spAutoFit/>
            </a:bodyPr>
            <a:lstStyle/>
            <a:p>
              <a:r>
                <a:rPr lang="es-ES" sz="900" dirty="0"/>
                <a:t>Partition 4</a:t>
              </a:r>
              <a:endParaRPr lang="en-GB" sz="2000" dirty="0" err="1"/>
            </a:p>
          </p:txBody>
        </p:sp>
      </p:grpSp>
      <p:grpSp>
        <p:nvGrpSpPr>
          <p:cNvPr id="33" name="Group 32"/>
          <p:cNvGrpSpPr/>
          <p:nvPr/>
        </p:nvGrpSpPr>
        <p:grpSpPr>
          <a:xfrm>
            <a:off x="5628155" y="847255"/>
            <a:ext cx="748101" cy="859881"/>
            <a:chOff x="7891893" y="1185046"/>
            <a:chExt cx="517067" cy="599797"/>
          </a:xfrm>
        </p:grpSpPr>
        <p:grpSp>
          <p:nvGrpSpPr>
            <p:cNvPr id="34" name="Group 33"/>
            <p:cNvGrpSpPr/>
            <p:nvPr/>
          </p:nvGrpSpPr>
          <p:grpSpPr>
            <a:xfrm>
              <a:off x="7891893" y="1185046"/>
              <a:ext cx="517067" cy="599797"/>
              <a:chOff x="6708741" y="967041"/>
              <a:chExt cx="1144680" cy="1327828"/>
            </a:xfrm>
          </p:grpSpPr>
          <p:sp>
            <p:nvSpPr>
              <p:cNvPr id="36" name="Hexagon 35"/>
              <p:cNvSpPr/>
              <p:nvPr/>
            </p:nvSpPr>
            <p:spPr>
              <a:xfrm rot="16200000">
                <a:off x="6617167" y="1058615"/>
                <a:ext cx="1327828" cy="1144680"/>
              </a:xfrm>
              <a:prstGeom prst="hexagon">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37" name="Hexagon 36"/>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grpSp>
        <p:sp>
          <p:nvSpPr>
            <p:cNvPr id="35" name="TextBox 34"/>
            <p:cNvSpPr txBox="1"/>
            <p:nvPr/>
          </p:nvSpPr>
          <p:spPr>
            <a:xfrm>
              <a:off x="7974228" y="1396076"/>
              <a:ext cx="358976" cy="193216"/>
            </a:xfrm>
            <a:prstGeom prst="rect">
              <a:avLst/>
            </a:prstGeom>
            <a:noFill/>
          </p:spPr>
          <p:txBody>
            <a:bodyPr wrap="none" lIns="0" tIns="0" rIns="0" bIns="0" rtlCol="0">
              <a:spAutoFit/>
            </a:bodyPr>
            <a:lstStyle/>
            <a:p>
              <a:pPr algn="ctr"/>
              <a:r>
                <a:rPr lang="es-ES" sz="900" dirty="0"/>
                <a:t>Partition 1</a:t>
              </a:r>
            </a:p>
            <a:p>
              <a:pPr algn="ctr"/>
              <a:r>
                <a:rPr lang="es-ES" sz="900" dirty="0"/>
                <a:t>Replica</a:t>
              </a:r>
              <a:endParaRPr lang="en-GB" sz="2000" dirty="0" err="1"/>
            </a:p>
          </p:txBody>
        </p:sp>
      </p:grpSp>
      <p:grpSp>
        <p:nvGrpSpPr>
          <p:cNvPr id="38" name="Group 37"/>
          <p:cNvGrpSpPr/>
          <p:nvPr/>
        </p:nvGrpSpPr>
        <p:grpSpPr>
          <a:xfrm>
            <a:off x="6759888" y="847257"/>
            <a:ext cx="748100" cy="859881"/>
            <a:chOff x="7891893" y="1185046"/>
            <a:chExt cx="517067" cy="599797"/>
          </a:xfrm>
        </p:grpSpPr>
        <p:grpSp>
          <p:nvGrpSpPr>
            <p:cNvPr id="39" name="Group 38"/>
            <p:cNvGrpSpPr/>
            <p:nvPr/>
          </p:nvGrpSpPr>
          <p:grpSpPr>
            <a:xfrm>
              <a:off x="7891893" y="1185046"/>
              <a:ext cx="517067" cy="599797"/>
              <a:chOff x="6708741" y="967041"/>
              <a:chExt cx="1144680" cy="1327828"/>
            </a:xfrm>
          </p:grpSpPr>
          <p:sp>
            <p:nvSpPr>
              <p:cNvPr id="41" name="Hexagon 40"/>
              <p:cNvSpPr/>
              <p:nvPr/>
            </p:nvSpPr>
            <p:spPr>
              <a:xfrm rot="16200000">
                <a:off x="6617167" y="1058615"/>
                <a:ext cx="1327828" cy="1144680"/>
              </a:xfrm>
              <a:prstGeom prst="hexagon">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42" name="Hexagon 41"/>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grpSp>
        <p:sp>
          <p:nvSpPr>
            <p:cNvPr id="40" name="TextBox 39"/>
            <p:cNvSpPr txBox="1"/>
            <p:nvPr/>
          </p:nvSpPr>
          <p:spPr>
            <a:xfrm>
              <a:off x="7967555" y="1406632"/>
              <a:ext cx="358977" cy="193216"/>
            </a:xfrm>
            <a:prstGeom prst="rect">
              <a:avLst/>
            </a:prstGeom>
            <a:noFill/>
          </p:spPr>
          <p:txBody>
            <a:bodyPr wrap="none" lIns="0" tIns="0" rIns="0" bIns="0" rtlCol="0">
              <a:spAutoFit/>
            </a:bodyPr>
            <a:lstStyle/>
            <a:p>
              <a:pPr algn="ctr"/>
              <a:r>
                <a:rPr lang="es-ES" sz="900" dirty="0"/>
                <a:t>Partition 1</a:t>
              </a:r>
            </a:p>
            <a:p>
              <a:pPr algn="ctr"/>
              <a:r>
                <a:rPr lang="es-ES" sz="900" dirty="0"/>
                <a:t>Replica</a:t>
              </a:r>
              <a:endParaRPr lang="en-GB" sz="2000" dirty="0" err="1"/>
            </a:p>
          </p:txBody>
        </p:sp>
      </p:grpSp>
      <p:grpSp>
        <p:nvGrpSpPr>
          <p:cNvPr id="43" name="Group 42"/>
          <p:cNvGrpSpPr/>
          <p:nvPr/>
        </p:nvGrpSpPr>
        <p:grpSpPr>
          <a:xfrm>
            <a:off x="5492896" y="785330"/>
            <a:ext cx="1030544" cy="3828979"/>
            <a:chOff x="1673942" y="1089778"/>
            <a:chExt cx="1030544" cy="3239765"/>
          </a:xfrm>
        </p:grpSpPr>
        <p:sp>
          <p:nvSpPr>
            <p:cNvPr id="44" name="Rectangle 43"/>
            <p:cNvSpPr/>
            <p:nvPr/>
          </p:nvSpPr>
          <p:spPr>
            <a:xfrm>
              <a:off x="1673942" y="1089778"/>
              <a:ext cx="1030544" cy="3239620"/>
            </a:xfrm>
            <a:prstGeom prst="rect">
              <a:avLst/>
            </a:prstGeom>
            <a:noFill/>
            <a:ln w="1270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sp>
          <p:nvSpPr>
            <p:cNvPr id="45" name="TextBox 44"/>
            <p:cNvSpPr txBox="1"/>
            <p:nvPr/>
          </p:nvSpPr>
          <p:spPr>
            <a:xfrm>
              <a:off x="2330485" y="4191044"/>
              <a:ext cx="339837" cy="138499"/>
            </a:xfrm>
            <a:prstGeom prst="rect">
              <a:avLst/>
            </a:prstGeom>
            <a:noFill/>
          </p:spPr>
          <p:txBody>
            <a:bodyPr wrap="none" lIns="0" tIns="0" rIns="0" bIns="0" rtlCol="0">
              <a:spAutoFit/>
            </a:bodyPr>
            <a:lstStyle/>
            <a:p>
              <a:r>
                <a:rPr lang="es-ES" sz="900" dirty="0">
                  <a:solidFill>
                    <a:schemeClr val="accent2"/>
                  </a:solidFill>
                </a:rPr>
                <a:t>Broker</a:t>
              </a:r>
              <a:endParaRPr lang="en-GB" sz="900" dirty="0" err="1">
                <a:solidFill>
                  <a:schemeClr val="accent2"/>
                </a:solidFill>
              </a:endParaRPr>
            </a:p>
          </p:txBody>
        </p:sp>
      </p:grpSp>
      <p:sp>
        <p:nvSpPr>
          <p:cNvPr id="46" name="Rectangle 45"/>
          <p:cNvSpPr/>
          <p:nvPr/>
        </p:nvSpPr>
        <p:spPr>
          <a:xfrm>
            <a:off x="6625769" y="790208"/>
            <a:ext cx="1030544" cy="3823929"/>
          </a:xfrm>
          <a:prstGeom prst="rect">
            <a:avLst/>
          </a:prstGeom>
          <a:noFill/>
          <a:ln w="1270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sp>
        <p:nvSpPr>
          <p:cNvPr id="47" name="Rectangle 46"/>
          <p:cNvSpPr/>
          <p:nvPr/>
        </p:nvSpPr>
        <p:spPr>
          <a:xfrm>
            <a:off x="7761045" y="785330"/>
            <a:ext cx="1030544" cy="3828808"/>
          </a:xfrm>
          <a:prstGeom prst="rect">
            <a:avLst/>
          </a:prstGeom>
          <a:noFill/>
          <a:ln w="1270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grpSp>
        <p:nvGrpSpPr>
          <p:cNvPr id="48" name="Group 47"/>
          <p:cNvGrpSpPr/>
          <p:nvPr/>
        </p:nvGrpSpPr>
        <p:grpSpPr>
          <a:xfrm>
            <a:off x="6748884" y="1764187"/>
            <a:ext cx="748100" cy="859881"/>
            <a:chOff x="7891893" y="1185046"/>
            <a:chExt cx="517067" cy="599797"/>
          </a:xfrm>
        </p:grpSpPr>
        <p:grpSp>
          <p:nvGrpSpPr>
            <p:cNvPr id="49" name="Group 48"/>
            <p:cNvGrpSpPr/>
            <p:nvPr/>
          </p:nvGrpSpPr>
          <p:grpSpPr>
            <a:xfrm>
              <a:off x="7891893" y="1185046"/>
              <a:ext cx="517067" cy="599797"/>
              <a:chOff x="6708741" y="967041"/>
              <a:chExt cx="1144680" cy="1327828"/>
            </a:xfrm>
          </p:grpSpPr>
          <p:sp>
            <p:nvSpPr>
              <p:cNvPr id="51" name="Hexagon 50"/>
              <p:cNvSpPr/>
              <p:nvPr/>
            </p:nvSpPr>
            <p:spPr>
              <a:xfrm rot="16200000">
                <a:off x="6617167" y="1058615"/>
                <a:ext cx="1327828" cy="1144680"/>
              </a:xfrm>
              <a:prstGeom prst="hexagon">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52" name="Hexagon 51"/>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grpSp>
        <p:sp>
          <p:nvSpPr>
            <p:cNvPr id="50" name="TextBox 49"/>
            <p:cNvSpPr txBox="1"/>
            <p:nvPr/>
          </p:nvSpPr>
          <p:spPr>
            <a:xfrm>
              <a:off x="7971691" y="1396525"/>
              <a:ext cx="358977" cy="193216"/>
            </a:xfrm>
            <a:prstGeom prst="rect">
              <a:avLst/>
            </a:prstGeom>
            <a:noFill/>
          </p:spPr>
          <p:txBody>
            <a:bodyPr wrap="none" lIns="0" tIns="0" rIns="0" bIns="0" rtlCol="0">
              <a:spAutoFit/>
            </a:bodyPr>
            <a:lstStyle/>
            <a:p>
              <a:pPr algn="ctr"/>
              <a:r>
                <a:rPr lang="es-ES" sz="900" dirty="0"/>
                <a:t>Partition 2</a:t>
              </a:r>
            </a:p>
            <a:p>
              <a:pPr algn="ctr"/>
              <a:r>
                <a:rPr lang="es-ES" sz="900" dirty="0"/>
                <a:t>Replica</a:t>
              </a:r>
              <a:endParaRPr lang="en-GB" sz="2000" dirty="0" err="1"/>
            </a:p>
          </p:txBody>
        </p:sp>
      </p:grpSp>
      <p:grpSp>
        <p:nvGrpSpPr>
          <p:cNvPr id="53" name="Group 52"/>
          <p:cNvGrpSpPr/>
          <p:nvPr/>
        </p:nvGrpSpPr>
        <p:grpSpPr>
          <a:xfrm>
            <a:off x="7894197" y="1766462"/>
            <a:ext cx="748100" cy="859881"/>
            <a:chOff x="7891893" y="1185046"/>
            <a:chExt cx="517067" cy="599797"/>
          </a:xfrm>
        </p:grpSpPr>
        <p:grpSp>
          <p:nvGrpSpPr>
            <p:cNvPr id="54" name="Group 53"/>
            <p:cNvGrpSpPr/>
            <p:nvPr/>
          </p:nvGrpSpPr>
          <p:grpSpPr>
            <a:xfrm>
              <a:off x="7891893" y="1185046"/>
              <a:ext cx="517067" cy="599797"/>
              <a:chOff x="6708741" y="967041"/>
              <a:chExt cx="1144680" cy="1327828"/>
            </a:xfrm>
          </p:grpSpPr>
          <p:sp>
            <p:nvSpPr>
              <p:cNvPr id="56" name="Hexagon 55"/>
              <p:cNvSpPr/>
              <p:nvPr/>
            </p:nvSpPr>
            <p:spPr>
              <a:xfrm rot="16200000">
                <a:off x="6617167" y="1058615"/>
                <a:ext cx="1327828" cy="1144680"/>
              </a:xfrm>
              <a:prstGeom prst="hexagon">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57" name="Hexagon 56"/>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grpSp>
        <p:sp>
          <p:nvSpPr>
            <p:cNvPr id="55" name="TextBox 54"/>
            <p:cNvSpPr txBox="1"/>
            <p:nvPr/>
          </p:nvSpPr>
          <p:spPr>
            <a:xfrm>
              <a:off x="7971691" y="1411160"/>
              <a:ext cx="358977" cy="193216"/>
            </a:xfrm>
            <a:prstGeom prst="rect">
              <a:avLst/>
            </a:prstGeom>
            <a:noFill/>
          </p:spPr>
          <p:txBody>
            <a:bodyPr wrap="none" lIns="0" tIns="0" rIns="0" bIns="0" rtlCol="0">
              <a:spAutoFit/>
            </a:bodyPr>
            <a:lstStyle/>
            <a:p>
              <a:pPr algn="ctr"/>
              <a:r>
                <a:rPr lang="es-ES" sz="900" dirty="0"/>
                <a:t>Partition 2</a:t>
              </a:r>
            </a:p>
            <a:p>
              <a:pPr algn="ctr"/>
              <a:r>
                <a:rPr lang="es-ES" sz="900" dirty="0"/>
                <a:t>Replica</a:t>
              </a:r>
              <a:endParaRPr lang="en-GB" sz="2000" dirty="0" err="1"/>
            </a:p>
          </p:txBody>
        </p:sp>
      </p:grpSp>
      <p:grpSp>
        <p:nvGrpSpPr>
          <p:cNvPr id="58" name="Group 57"/>
          <p:cNvGrpSpPr/>
          <p:nvPr/>
        </p:nvGrpSpPr>
        <p:grpSpPr>
          <a:xfrm>
            <a:off x="5675045" y="3578792"/>
            <a:ext cx="748100" cy="859881"/>
            <a:chOff x="6708741" y="967041"/>
            <a:chExt cx="1144680" cy="1327828"/>
          </a:xfrm>
        </p:grpSpPr>
        <p:sp>
          <p:nvSpPr>
            <p:cNvPr id="59" name="Hexagon 58"/>
            <p:cNvSpPr/>
            <p:nvPr/>
          </p:nvSpPr>
          <p:spPr>
            <a:xfrm rot="16200000">
              <a:off x="6617167" y="1058615"/>
              <a:ext cx="1327828" cy="1144680"/>
            </a:xfrm>
            <a:prstGeom prst="hexagon">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60" name="Hexagon 59"/>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grpSp>
      <p:grpSp>
        <p:nvGrpSpPr>
          <p:cNvPr id="61" name="Group 60"/>
          <p:cNvGrpSpPr/>
          <p:nvPr/>
        </p:nvGrpSpPr>
        <p:grpSpPr>
          <a:xfrm>
            <a:off x="4488624" y="3581654"/>
            <a:ext cx="748100" cy="859881"/>
            <a:chOff x="7891893" y="1185046"/>
            <a:chExt cx="517067" cy="599797"/>
          </a:xfrm>
        </p:grpSpPr>
        <p:grpSp>
          <p:nvGrpSpPr>
            <p:cNvPr id="62" name="Group 61"/>
            <p:cNvGrpSpPr/>
            <p:nvPr/>
          </p:nvGrpSpPr>
          <p:grpSpPr>
            <a:xfrm>
              <a:off x="7891893" y="1185046"/>
              <a:ext cx="517067" cy="599797"/>
              <a:chOff x="6708741" y="967041"/>
              <a:chExt cx="1144680" cy="1327828"/>
            </a:xfrm>
          </p:grpSpPr>
          <p:sp>
            <p:nvSpPr>
              <p:cNvPr id="64" name="Hexagon 63"/>
              <p:cNvSpPr/>
              <p:nvPr/>
            </p:nvSpPr>
            <p:spPr>
              <a:xfrm rot="16200000">
                <a:off x="6617167" y="1058615"/>
                <a:ext cx="1327828" cy="1144680"/>
              </a:xfrm>
              <a:prstGeom prst="hexagon">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65" name="Hexagon 64"/>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grpSp>
        <p:sp>
          <p:nvSpPr>
            <p:cNvPr id="63" name="TextBox 62"/>
            <p:cNvSpPr txBox="1"/>
            <p:nvPr/>
          </p:nvSpPr>
          <p:spPr>
            <a:xfrm>
              <a:off x="7974931" y="1404867"/>
              <a:ext cx="361604" cy="193216"/>
            </a:xfrm>
            <a:prstGeom prst="rect">
              <a:avLst/>
            </a:prstGeom>
            <a:noFill/>
          </p:spPr>
          <p:txBody>
            <a:bodyPr wrap="square" lIns="0" tIns="0" rIns="0" bIns="0" rtlCol="0">
              <a:spAutoFit/>
            </a:bodyPr>
            <a:lstStyle/>
            <a:p>
              <a:pPr algn="ctr"/>
              <a:r>
                <a:rPr lang="es-ES" sz="900" dirty="0"/>
                <a:t>Partition 4 Replica</a:t>
              </a:r>
              <a:endParaRPr lang="en-GB" sz="2000" dirty="0" err="1"/>
            </a:p>
          </p:txBody>
        </p:sp>
      </p:grpSp>
      <p:grpSp>
        <p:nvGrpSpPr>
          <p:cNvPr id="66" name="Group 65"/>
          <p:cNvGrpSpPr/>
          <p:nvPr/>
        </p:nvGrpSpPr>
        <p:grpSpPr>
          <a:xfrm>
            <a:off x="4470210" y="2614784"/>
            <a:ext cx="748100" cy="859881"/>
            <a:chOff x="6708741" y="967041"/>
            <a:chExt cx="1144680" cy="1327828"/>
          </a:xfrm>
        </p:grpSpPr>
        <p:sp>
          <p:nvSpPr>
            <p:cNvPr id="67" name="Hexagon 66"/>
            <p:cNvSpPr/>
            <p:nvPr/>
          </p:nvSpPr>
          <p:spPr>
            <a:xfrm rot="16200000">
              <a:off x="6617167" y="1058615"/>
              <a:ext cx="1327828" cy="1144680"/>
            </a:xfrm>
            <a:prstGeom prst="hexagon">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68" name="Hexagon 67"/>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grpSp>
      <p:grpSp>
        <p:nvGrpSpPr>
          <p:cNvPr id="69" name="Group 68"/>
          <p:cNvGrpSpPr/>
          <p:nvPr/>
        </p:nvGrpSpPr>
        <p:grpSpPr>
          <a:xfrm>
            <a:off x="7891582" y="2659804"/>
            <a:ext cx="748100" cy="859881"/>
            <a:chOff x="7891893" y="1185046"/>
            <a:chExt cx="517067" cy="599797"/>
          </a:xfrm>
        </p:grpSpPr>
        <p:grpSp>
          <p:nvGrpSpPr>
            <p:cNvPr id="70" name="Group 69"/>
            <p:cNvGrpSpPr/>
            <p:nvPr/>
          </p:nvGrpSpPr>
          <p:grpSpPr>
            <a:xfrm>
              <a:off x="7891893" y="1185046"/>
              <a:ext cx="517067" cy="599797"/>
              <a:chOff x="6708741" y="967041"/>
              <a:chExt cx="1144680" cy="1327828"/>
            </a:xfrm>
          </p:grpSpPr>
          <p:sp>
            <p:nvSpPr>
              <p:cNvPr id="72" name="Hexagon 71"/>
              <p:cNvSpPr/>
              <p:nvPr/>
            </p:nvSpPr>
            <p:spPr>
              <a:xfrm rot="16200000">
                <a:off x="6617167" y="1058615"/>
                <a:ext cx="1327828" cy="1144680"/>
              </a:xfrm>
              <a:prstGeom prst="hexagon">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73" name="Hexagon 72"/>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grpSp>
        <p:sp>
          <p:nvSpPr>
            <p:cNvPr id="71" name="TextBox 70"/>
            <p:cNvSpPr txBox="1"/>
            <p:nvPr/>
          </p:nvSpPr>
          <p:spPr>
            <a:xfrm>
              <a:off x="7971691" y="1438777"/>
              <a:ext cx="374025" cy="193216"/>
            </a:xfrm>
            <a:prstGeom prst="rect">
              <a:avLst/>
            </a:prstGeom>
            <a:noFill/>
          </p:spPr>
          <p:txBody>
            <a:bodyPr wrap="square" lIns="0" tIns="0" rIns="0" bIns="0" rtlCol="0">
              <a:spAutoFit/>
            </a:bodyPr>
            <a:lstStyle/>
            <a:p>
              <a:pPr algn="ctr"/>
              <a:r>
                <a:rPr lang="es-ES" sz="900" dirty="0"/>
                <a:t>Partition 3 Replica</a:t>
              </a:r>
              <a:endParaRPr lang="en-GB" sz="2000" dirty="0" err="1"/>
            </a:p>
          </p:txBody>
        </p:sp>
      </p:grpSp>
      <p:cxnSp>
        <p:nvCxnSpPr>
          <p:cNvPr id="74" name="Straight Arrow Connector 73"/>
          <p:cNvCxnSpPr/>
          <p:nvPr/>
        </p:nvCxnSpPr>
        <p:spPr bwMode="gray">
          <a:xfrm>
            <a:off x="6403768" y="2222894"/>
            <a:ext cx="356122" cy="2067"/>
          </a:xfrm>
          <a:prstGeom prst="straightConnector1">
            <a:avLst/>
          </a:prstGeom>
          <a:ln w="190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bwMode="gray">
          <a:xfrm>
            <a:off x="7516307" y="3102350"/>
            <a:ext cx="356122" cy="2067"/>
          </a:xfrm>
          <a:prstGeom prst="straightConnector1">
            <a:avLst/>
          </a:prstGeom>
          <a:ln w="190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bwMode="gray">
          <a:xfrm flipH="1" flipV="1">
            <a:off x="5210449" y="3097253"/>
            <a:ext cx="1543131" cy="1"/>
          </a:xfrm>
          <a:prstGeom prst="straightConnector1">
            <a:avLst/>
          </a:prstGeom>
          <a:ln w="190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bwMode="gray">
          <a:xfrm flipH="1" flipV="1">
            <a:off x="6410588" y="4035293"/>
            <a:ext cx="1455061" cy="6556"/>
          </a:xfrm>
          <a:prstGeom prst="straightConnector1">
            <a:avLst/>
          </a:prstGeom>
          <a:ln w="190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4586102" y="2933732"/>
            <a:ext cx="541145" cy="276998"/>
          </a:xfrm>
          <a:prstGeom prst="rect">
            <a:avLst/>
          </a:prstGeom>
          <a:noFill/>
        </p:spPr>
        <p:txBody>
          <a:bodyPr wrap="square" lIns="0" tIns="0" rIns="0" bIns="0" rtlCol="0">
            <a:spAutoFit/>
          </a:bodyPr>
          <a:lstStyle/>
          <a:p>
            <a:pPr algn="ctr"/>
            <a:r>
              <a:rPr lang="es-ES" sz="900" dirty="0"/>
              <a:t>Partition 3 Replica</a:t>
            </a:r>
            <a:endParaRPr lang="en-GB" sz="2000" dirty="0" err="1"/>
          </a:p>
        </p:txBody>
      </p:sp>
      <p:sp>
        <p:nvSpPr>
          <p:cNvPr id="79" name="TextBox 78"/>
          <p:cNvSpPr txBox="1"/>
          <p:nvPr/>
        </p:nvSpPr>
        <p:spPr>
          <a:xfrm>
            <a:off x="5799910" y="3891286"/>
            <a:ext cx="523174" cy="276998"/>
          </a:xfrm>
          <a:prstGeom prst="rect">
            <a:avLst/>
          </a:prstGeom>
          <a:noFill/>
        </p:spPr>
        <p:txBody>
          <a:bodyPr wrap="square" lIns="0" tIns="0" rIns="0" bIns="0" rtlCol="0">
            <a:spAutoFit/>
          </a:bodyPr>
          <a:lstStyle/>
          <a:p>
            <a:pPr algn="ctr"/>
            <a:r>
              <a:rPr lang="es-ES" sz="900" dirty="0"/>
              <a:t>Partition 4 Replica</a:t>
            </a:r>
            <a:endParaRPr lang="en-GB" sz="2000" dirty="0" err="1"/>
          </a:p>
        </p:txBody>
      </p:sp>
      <p:sp>
        <p:nvSpPr>
          <p:cNvPr id="80" name="TextBox 79"/>
          <p:cNvSpPr txBox="1"/>
          <p:nvPr/>
        </p:nvSpPr>
        <p:spPr>
          <a:xfrm>
            <a:off x="3042188" y="4382312"/>
            <a:ext cx="1979268" cy="484748"/>
          </a:xfrm>
          <a:prstGeom prst="rect">
            <a:avLst/>
          </a:prstGeom>
          <a:noFill/>
        </p:spPr>
        <p:txBody>
          <a:bodyPr wrap="square" lIns="0" tIns="0" rIns="0" bIns="0" rtlCol="0">
            <a:spAutoFit/>
          </a:bodyPr>
          <a:lstStyle/>
          <a:p>
            <a:r>
              <a:rPr lang="es-ES" sz="1050" b="1" dirty="0"/>
              <a:t>Topic</a:t>
            </a:r>
            <a:r>
              <a:rPr lang="es-ES" sz="1050" dirty="0"/>
              <a:t> </a:t>
            </a:r>
          </a:p>
          <a:p>
            <a:pPr marL="171450" indent="-171450">
              <a:buFont typeface="Arial" panose="020B0604020202020204" pitchFamily="34" charset="0"/>
              <a:buChar char="•"/>
            </a:pPr>
            <a:r>
              <a:rPr lang="es-ES" sz="1050" dirty="0"/>
              <a:t>4 - Partitions </a:t>
            </a:r>
          </a:p>
          <a:p>
            <a:pPr marL="171450" indent="-171450">
              <a:buFont typeface="Arial" panose="020B0604020202020204" pitchFamily="34" charset="0"/>
              <a:buChar char="•"/>
            </a:pPr>
            <a:r>
              <a:rPr lang="es-ES" sz="1050" dirty="0"/>
              <a:t>Replication factor 2</a:t>
            </a:r>
            <a:endParaRPr lang="en-GB" sz="1050" dirty="0" err="1"/>
          </a:p>
        </p:txBody>
      </p:sp>
      <p:sp>
        <p:nvSpPr>
          <p:cNvPr id="81" name="Rectangle 80"/>
          <p:cNvSpPr/>
          <p:nvPr/>
        </p:nvSpPr>
        <p:spPr>
          <a:xfrm>
            <a:off x="383343" y="1814807"/>
            <a:ext cx="3778861" cy="523220"/>
          </a:xfrm>
          <a:prstGeom prst="rect">
            <a:avLst/>
          </a:prstGeom>
        </p:spPr>
        <p:txBody>
          <a:bodyPr wrap="square">
            <a:spAutoFit/>
          </a:bodyPr>
          <a:lstStyle/>
          <a:p>
            <a:r>
              <a:rPr lang="en-GB" sz="1200" dirty="0">
                <a:solidFill>
                  <a:srgbClr val="2C3E50"/>
                </a:solidFill>
              </a:rPr>
              <a:t>The </a:t>
            </a:r>
            <a:r>
              <a:rPr lang="en-GB" sz="1600" dirty="0">
                <a:solidFill>
                  <a:schemeClr val="accent2"/>
                </a:solidFill>
              </a:rPr>
              <a:t>controller</a:t>
            </a:r>
            <a:r>
              <a:rPr lang="en-GB" sz="1200" dirty="0">
                <a:solidFill>
                  <a:srgbClr val="2C3E50"/>
                </a:solidFill>
              </a:rPr>
              <a:t> is one of the Kafka brokers  responsible for electing partition leaders.</a:t>
            </a:r>
            <a:endParaRPr lang="en-GB" sz="1200" dirty="0"/>
          </a:p>
        </p:txBody>
      </p:sp>
      <p:sp>
        <p:nvSpPr>
          <p:cNvPr id="82" name="Rectangle 81"/>
          <p:cNvSpPr/>
          <p:nvPr/>
        </p:nvSpPr>
        <p:spPr>
          <a:xfrm>
            <a:off x="395970" y="1114679"/>
            <a:ext cx="3927325" cy="738664"/>
          </a:xfrm>
          <a:prstGeom prst="rect">
            <a:avLst/>
          </a:prstGeom>
        </p:spPr>
        <p:txBody>
          <a:bodyPr wrap="square">
            <a:spAutoFit/>
          </a:bodyPr>
          <a:lstStyle/>
          <a:p>
            <a:r>
              <a:rPr lang="en-GB" sz="1400" dirty="0">
                <a:solidFill>
                  <a:schemeClr val="accent2"/>
                </a:solidFill>
              </a:rPr>
              <a:t>Replicas</a:t>
            </a:r>
            <a:r>
              <a:rPr lang="en-GB" sz="1400" dirty="0">
                <a:solidFill>
                  <a:srgbClr val="2C3E50"/>
                </a:solidFill>
              </a:rPr>
              <a:t> are spread across available brokers</a:t>
            </a:r>
            <a:endParaRPr lang="en-GB" sz="1400" dirty="0"/>
          </a:p>
          <a:p>
            <a:pPr marL="171450" indent="-171450">
              <a:buFont typeface="Arial" panose="020B0604020202020204" pitchFamily="34" charset="0"/>
              <a:buChar char="•"/>
            </a:pPr>
            <a:r>
              <a:rPr lang="en-US" sz="1400" dirty="0"/>
              <a:t>Backups of a partition</a:t>
            </a:r>
          </a:p>
          <a:p>
            <a:pPr marL="171450" indent="-171450">
              <a:buFont typeface="Arial" panose="020B0604020202020204" pitchFamily="34" charset="0"/>
              <a:buChar char="•"/>
            </a:pPr>
            <a:r>
              <a:rPr lang="en-US" sz="1400" dirty="0"/>
              <a:t>Used to prevent data loss.</a:t>
            </a:r>
            <a:endParaRPr lang="en-GB" sz="1000" dirty="0"/>
          </a:p>
        </p:txBody>
      </p:sp>
      <p:sp>
        <p:nvSpPr>
          <p:cNvPr id="83" name="Rectangle 82"/>
          <p:cNvSpPr/>
          <p:nvPr/>
        </p:nvSpPr>
        <p:spPr>
          <a:xfrm>
            <a:off x="4234655" y="699144"/>
            <a:ext cx="4639541" cy="4017699"/>
          </a:xfrm>
          <a:prstGeom prst="rect">
            <a:avLst/>
          </a:prstGeom>
          <a:noFill/>
          <a:ln w="127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sp>
        <p:nvSpPr>
          <p:cNvPr id="84" name="TextBox 83"/>
          <p:cNvSpPr txBox="1"/>
          <p:nvPr/>
        </p:nvSpPr>
        <p:spPr>
          <a:xfrm>
            <a:off x="7276306" y="4455319"/>
            <a:ext cx="339837" cy="163688"/>
          </a:xfrm>
          <a:prstGeom prst="rect">
            <a:avLst/>
          </a:prstGeom>
          <a:noFill/>
        </p:spPr>
        <p:txBody>
          <a:bodyPr wrap="none" lIns="0" tIns="0" rIns="0" bIns="0" rtlCol="0">
            <a:spAutoFit/>
          </a:bodyPr>
          <a:lstStyle/>
          <a:p>
            <a:r>
              <a:rPr lang="es-ES" sz="900" dirty="0">
                <a:solidFill>
                  <a:schemeClr val="accent2"/>
                </a:solidFill>
              </a:rPr>
              <a:t>Broker</a:t>
            </a:r>
            <a:endParaRPr lang="en-GB" sz="900" dirty="0" err="1">
              <a:solidFill>
                <a:schemeClr val="accent2"/>
              </a:solidFill>
            </a:endParaRPr>
          </a:p>
        </p:txBody>
      </p:sp>
      <p:sp>
        <p:nvSpPr>
          <p:cNvPr id="85" name="TextBox 84"/>
          <p:cNvSpPr txBox="1"/>
          <p:nvPr/>
        </p:nvSpPr>
        <p:spPr>
          <a:xfrm>
            <a:off x="8401486" y="4455319"/>
            <a:ext cx="339837" cy="163688"/>
          </a:xfrm>
          <a:prstGeom prst="rect">
            <a:avLst/>
          </a:prstGeom>
          <a:noFill/>
        </p:spPr>
        <p:txBody>
          <a:bodyPr wrap="none" lIns="0" tIns="0" rIns="0" bIns="0" rtlCol="0">
            <a:spAutoFit/>
          </a:bodyPr>
          <a:lstStyle/>
          <a:p>
            <a:r>
              <a:rPr lang="es-ES" sz="900" dirty="0">
                <a:solidFill>
                  <a:schemeClr val="accent2"/>
                </a:solidFill>
              </a:rPr>
              <a:t>Broker</a:t>
            </a:r>
            <a:endParaRPr lang="en-GB" sz="900" dirty="0" err="1">
              <a:solidFill>
                <a:schemeClr val="accent2"/>
              </a:solidFill>
            </a:endParaRPr>
          </a:p>
        </p:txBody>
      </p:sp>
      <p:sp>
        <p:nvSpPr>
          <p:cNvPr id="86" name="TextBox 85"/>
          <p:cNvSpPr txBox="1"/>
          <p:nvPr/>
        </p:nvSpPr>
        <p:spPr>
          <a:xfrm>
            <a:off x="4971170" y="4448737"/>
            <a:ext cx="339837" cy="163688"/>
          </a:xfrm>
          <a:prstGeom prst="rect">
            <a:avLst/>
          </a:prstGeom>
          <a:noFill/>
        </p:spPr>
        <p:txBody>
          <a:bodyPr wrap="none" lIns="0" tIns="0" rIns="0" bIns="0" rtlCol="0">
            <a:spAutoFit/>
          </a:bodyPr>
          <a:lstStyle/>
          <a:p>
            <a:r>
              <a:rPr lang="es-ES" sz="900" dirty="0">
                <a:solidFill>
                  <a:schemeClr val="accent2"/>
                </a:solidFill>
              </a:rPr>
              <a:t>Broker</a:t>
            </a:r>
            <a:endParaRPr lang="en-GB" sz="900" dirty="0" err="1">
              <a:solidFill>
                <a:schemeClr val="accent2"/>
              </a:solidFill>
            </a:endParaRPr>
          </a:p>
        </p:txBody>
      </p:sp>
      <p:sp>
        <p:nvSpPr>
          <p:cNvPr id="4" name="Rectangle 3"/>
          <p:cNvSpPr/>
          <p:nvPr/>
        </p:nvSpPr>
        <p:spPr>
          <a:xfrm>
            <a:off x="399810" y="2550500"/>
            <a:ext cx="3700996" cy="1569660"/>
          </a:xfrm>
          <a:prstGeom prst="rect">
            <a:avLst/>
          </a:prstGeom>
        </p:spPr>
        <p:txBody>
          <a:bodyPr wrap="square">
            <a:spAutoFit/>
          </a:bodyPr>
          <a:lstStyle/>
          <a:p>
            <a:pPr marL="171450" indent="-171450">
              <a:buFont typeface="Arial" panose="020B0604020202020204" pitchFamily="34" charset="0"/>
              <a:buChar char="•"/>
            </a:pPr>
            <a:r>
              <a:rPr lang="en-GB" sz="1200" dirty="0"/>
              <a:t>Do not serve client requests; just stay up-to-date with the leader</a:t>
            </a:r>
          </a:p>
          <a:p>
            <a:pPr marL="171450" indent="-171450">
              <a:buFont typeface="Arial" panose="020B0604020202020204" pitchFamily="34" charset="0"/>
              <a:buChar char="•"/>
            </a:pPr>
            <a:r>
              <a:rPr lang="en-US" sz="1200" dirty="0"/>
              <a:t>Consume messages from the leader just as a normal Kafka consumer would do. </a:t>
            </a:r>
          </a:p>
          <a:p>
            <a:pPr marL="171450" indent="-171450">
              <a:buFont typeface="Arial" panose="020B0604020202020204" pitchFamily="34" charset="0"/>
              <a:buChar char="•"/>
            </a:pPr>
            <a:r>
              <a:rPr lang="en-US" sz="1200" b="1" dirty="0">
                <a:solidFill>
                  <a:schemeClr val="accent2"/>
                </a:solidFill>
              </a:rPr>
              <a:t>ISR (in-sync replicas)</a:t>
            </a:r>
            <a:r>
              <a:rPr lang="en-US" sz="1200" b="1" dirty="0"/>
              <a:t> </a:t>
            </a:r>
            <a:r>
              <a:rPr lang="en-US" sz="1200" dirty="0"/>
              <a:t>when not too far; how far behind is too far is configurable</a:t>
            </a:r>
          </a:p>
          <a:p>
            <a:pPr marL="171450" indent="-171450">
              <a:buFont typeface="Arial" panose="020B0604020202020204" pitchFamily="34" charset="0"/>
              <a:buChar char="•"/>
            </a:pPr>
            <a:r>
              <a:rPr lang="en-GB" sz="1200" dirty="0"/>
              <a:t>If the leader replica crashes, one of the ISR will be promoted to leader</a:t>
            </a:r>
          </a:p>
        </p:txBody>
      </p:sp>
      <p:pic>
        <p:nvPicPr>
          <p:cNvPr id="87" name="Picture 2" descr="EDEM Escuela de Empresarios, Fundación de la Comunidad Valenciana -  Asociación Valenciana de Fundaciones de la CV">
            <a:extLst>
              <a:ext uri="{FF2B5EF4-FFF2-40B4-BE49-F238E27FC236}">
                <a16:creationId xmlns:a16="http://schemas.microsoft.com/office/drawing/2014/main" id="{6BC299B9-AA93-4FD5-8AA9-879FD1AD3F2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49406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cord Retention</a:t>
            </a:r>
          </a:p>
        </p:txBody>
      </p:sp>
      <p:sp>
        <p:nvSpPr>
          <p:cNvPr id="3" name="Date Placeholder 2"/>
          <p:cNvSpPr>
            <a:spLocks noGrp="1"/>
          </p:cNvSpPr>
          <p:nvPr>
            <p:ph type="dt" sz="half" idx="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97B746A9-829D-4556-8B99-7D5473FFBD99}" type="datetime1">
              <a:rPr kumimoji="0" lang="en-GB" sz="600" b="1" i="0" u="none" strike="noStrike" kern="1200" cap="none" spc="0" normalizeH="0" baseline="0" noProof="0" smtClean="0">
                <a:ln>
                  <a:noFill/>
                </a:ln>
                <a:solidFill>
                  <a:srgbClr val="000000"/>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02/12/2021</a:t>
            </a:fld>
            <a:endParaRPr kumimoji="0" lang="en-GB" sz="600" b="1" i="0" u="none" strike="noStrike" kern="1200" cap="none" spc="0" normalizeH="0" baseline="0" noProof="0" dirty="0">
              <a:ln>
                <a:noFill/>
              </a:ln>
              <a:solidFill>
                <a:srgbClr val="000000"/>
              </a:solidFill>
              <a:effectLst/>
              <a:uLnTx/>
              <a:uFillTx/>
              <a:latin typeface="Arial"/>
              <a:ea typeface="+mn-ea"/>
              <a:cs typeface="+mn-cs"/>
            </a:endParaRPr>
          </a:p>
        </p:txBody>
      </p:sp>
      <p:sp>
        <p:nvSpPr>
          <p:cNvPr id="4" name="Text Placeholder 3"/>
          <p:cNvSpPr>
            <a:spLocks noGrp="1"/>
          </p:cNvSpPr>
          <p:nvPr>
            <p:ph type="body" sz="quarter" idx="10"/>
          </p:nvPr>
        </p:nvSpPr>
        <p:spPr>
          <a:xfrm>
            <a:off x="977899" y="1573213"/>
            <a:ext cx="5117043" cy="2222147"/>
          </a:xfrm>
        </p:spPr>
        <p:txBody>
          <a:bodyPr/>
          <a:lstStyle/>
          <a:p>
            <a:r>
              <a:rPr lang="en-GB" dirty="0"/>
              <a:t>Published records (consumed or not) are </a:t>
            </a:r>
            <a:r>
              <a:rPr lang="en-GB" b="1" dirty="0">
                <a:solidFill>
                  <a:schemeClr val="accent2"/>
                </a:solidFill>
              </a:rPr>
              <a:t>retained for a configurable period</a:t>
            </a:r>
          </a:p>
          <a:p>
            <a:endParaRPr lang="en-GB" b="1" dirty="0"/>
          </a:p>
          <a:p>
            <a:r>
              <a:rPr lang="en-GB" dirty="0"/>
              <a:t>Records are available for consumption until discarded by</a:t>
            </a:r>
          </a:p>
          <a:p>
            <a:pPr lvl="1"/>
            <a:r>
              <a:rPr lang="en-GB" b="1" dirty="0">
                <a:solidFill>
                  <a:schemeClr val="accent2"/>
                </a:solidFill>
              </a:rPr>
              <a:t>Time</a:t>
            </a:r>
            <a:r>
              <a:rPr lang="en-GB" b="1" dirty="0"/>
              <a:t> </a:t>
            </a:r>
            <a:r>
              <a:rPr lang="en-GB" dirty="0"/>
              <a:t>– configurable retention period of time</a:t>
            </a:r>
          </a:p>
          <a:p>
            <a:pPr lvl="1"/>
            <a:r>
              <a:rPr lang="en-GB" b="1" dirty="0">
                <a:solidFill>
                  <a:schemeClr val="accent2"/>
                </a:solidFill>
              </a:rPr>
              <a:t>Size</a:t>
            </a:r>
            <a:r>
              <a:rPr lang="en-GB" b="1" dirty="0"/>
              <a:t>  </a:t>
            </a:r>
            <a:r>
              <a:rPr lang="en-GB" dirty="0"/>
              <a:t>– configurable retention based on partition size</a:t>
            </a:r>
          </a:p>
          <a:p>
            <a:pPr lvl="1"/>
            <a:r>
              <a:rPr lang="en-GB" b="1" dirty="0">
                <a:solidFill>
                  <a:schemeClr val="accent2"/>
                </a:solidFill>
              </a:rPr>
              <a:t>Compaction</a:t>
            </a:r>
            <a:r>
              <a:rPr lang="en-GB" b="1" dirty="0"/>
              <a:t> </a:t>
            </a:r>
            <a:r>
              <a:rPr lang="en-GB" dirty="0"/>
              <a:t>– keeps latest record for each key</a:t>
            </a:r>
          </a:p>
          <a:p>
            <a:pPr lvl="1"/>
            <a:endParaRPr lang="en-GB" dirty="0"/>
          </a:p>
          <a:p>
            <a:r>
              <a:rPr lang="en-GB" dirty="0"/>
              <a:t>Performance is not affected by large partitions so retention can be extremely large</a:t>
            </a:r>
          </a:p>
          <a:p>
            <a:pPr lvl="1"/>
            <a:r>
              <a:rPr lang="en-GB" dirty="0"/>
              <a:t>Unlimited? As soon as your storage is unlimited too</a:t>
            </a:r>
          </a:p>
        </p:txBody>
      </p:sp>
      <p:grpSp>
        <p:nvGrpSpPr>
          <p:cNvPr id="20" name="Group 19"/>
          <p:cNvGrpSpPr/>
          <p:nvPr/>
        </p:nvGrpSpPr>
        <p:grpSpPr>
          <a:xfrm>
            <a:off x="6485326" y="1760155"/>
            <a:ext cx="1905640" cy="2192021"/>
            <a:chOff x="4963886" y="776897"/>
            <a:chExt cx="4044445" cy="4020011"/>
          </a:xfrm>
        </p:grpSpPr>
        <p:sp>
          <p:nvSpPr>
            <p:cNvPr id="14" name="Freeform: Shape 33">
              <a:extLst>
                <a:ext uri="{FF2B5EF4-FFF2-40B4-BE49-F238E27FC236}">
                  <a16:creationId xmlns:a16="http://schemas.microsoft.com/office/drawing/2014/main" id="{21A73B34-BFD2-4622-A367-10D94F27C2FA}"/>
                </a:ext>
              </a:extLst>
            </p:cNvPr>
            <p:cNvSpPr/>
            <p:nvPr/>
          </p:nvSpPr>
          <p:spPr>
            <a:xfrm>
              <a:off x="7751704" y="2095320"/>
              <a:ext cx="1256627" cy="1308987"/>
            </a:xfrm>
            <a:custGeom>
              <a:avLst/>
              <a:gdLst>
                <a:gd name="connsiteX0" fmla="*/ 6 w 228600"/>
                <a:gd name="connsiteY0" fmla="*/ 96525 h 238125"/>
                <a:gd name="connsiteX1" fmla="*/ 158135 w 228600"/>
                <a:gd name="connsiteY1" fmla="*/ 0 h 238125"/>
                <a:gd name="connsiteX2" fmla="*/ 228988 w 228600"/>
                <a:gd name="connsiteY2" fmla="*/ 139539 h 238125"/>
                <a:gd name="connsiteX3" fmla="*/ 77013 w 228600"/>
                <a:gd name="connsiteY3" fmla="*/ 239205 h 238125"/>
                <a:gd name="connsiteX4" fmla="*/ 0 w 228600"/>
                <a:gd name="connsiteY4" fmla="*/ 96525 h 238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38125">
                  <a:moveTo>
                    <a:pt x="6" y="96525"/>
                  </a:moveTo>
                  <a:lnTo>
                    <a:pt x="158135" y="0"/>
                  </a:lnTo>
                  <a:lnTo>
                    <a:pt x="228988" y="139539"/>
                  </a:lnTo>
                  <a:cubicBezTo>
                    <a:pt x="246102" y="215776"/>
                    <a:pt x="152317" y="243757"/>
                    <a:pt x="77013" y="239205"/>
                  </a:cubicBezTo>
                  <a:lnTo>
                    <a:pt x="0" y="96525"/>
                  </a:lnTo>
                  <a:close/>
                </a:path>
              </a:pathLst>
            </a:custGeom>
            <a:solidFill>
              <a:schemeClr val="accent6">
                <a:lumMod val="50000"/>
              </a:schemeClr>
            </a:solidFill>
            <a:ln w="2907" cap="flat">
              <a:noFill/>
              <a:prstDash val="solid"/>
              <a:miter/>
            </a:ln>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sp>
          <p:nvSpPr>
            <p:cNvPr id="15" name="Freeform: Shape 34">
              <a:extLst>
                <a:ext uri="{FF2B5EF4-FFF2-40B4-BE49-F238E27FC236}">
                  <a16:creationId xmlns:a16="http://schemas.microsoft.com/office/drawing/2014/main" id="{C9C90D38-9E33-4780-B70A-631B4B7370EA}"/>
                </a:ext>
              </a:extLst>
            </p:cNvPr>
            <p:cNvSpPr/>
            <p:nvPr/>
          </p:nvSpPr>
          <p:spPr>
            <a:xfrm>
              <a:off x="7097016" y="3173766"/>
              <a:ext cx="1832580" cy="1623142"/>
            </a:xfrm>
            <a:custGeom>
              <a:avLst/>
              <a:gdLst>
                <a:gd name="connsiteX0" fmla="*/ 83173 w 333375"/>
                <a:gd name="connsiteY0" fmla="*/ 5 h 295275"/>
                <a:gd name="connsiteX1" fmla="*/ 0 w 333375"/>
                <a:gd name="connsiteY1" fmla="*/ 150031 h 295275"/>
                <a:gd name="connsiteX2" fmla="*/ 83173 w 333375"/>
                <a:gd name="connsiteY2" fmla="*/ 302155 h 295275"/>
                <a:gd name="connsiteX3" fmla="*/ 85227 w 333375"/>
                <a:gd name="connsiteY3" fmla="*/ 241304 h 295275"/>
                <a:gd name="connsiteX4" fmla="*/ 161214 w 333375"/>
                <a:gd name="connsiteY4" fmla="*/ 241304 h 295275"/>
                <a:gd name="connsiteX5" fmla="*/ 238227 w 333375"/>
                <a:gd name="connsiteY5" fmla="*/ 198290 h 295275"/>
                <a:gd name="connsiteX6" fmla="*/ 335778 w 333375"/>
                <a:gd name="connsiteY6" fmla="*/ 15737 h 295275"/>
                <a:gd name="connsiteX7" fmla="*/ 214614 w 333375"/>
                <a:gd name="connsiteY7" fmla="*/ 56653 h 295275"/>
                <a:gd name="connsiteX8" fmla="*/ 86262 w 333375"/>
                <a:gd name="connsiteY8" fmla="*/ 56653 h 295275"/>
                <a:gd name="connsiteX9" fmla="*/ 83181 w 333375"/>
                <a:gd name="connsiteY9"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375" h="295275">
                  <a:moveTo>
                    <a:pt x="83173" y="5"/>
                  </a:moveTo>
                  <a:lnTo>
                    <a:pt x="0" y="150031"/>
                  </a:lnTo>
                  <a:lnTo>
                    <a:pt x="83173" y="302155"/>
                  </a:lnTo>
                  <a:lnTo>
                    <a:pt x="85227" y="241304"/>
                  </a:lnTo>
                  <a:lnTo>
                    <a:pt x="161214" y="241304"/>
                  </a:lnTo>
                  <a:cubicBezTo>
                    <a:pt x="188938" y="243752"/>
                    <a:pt x="224878" y="225217"/>
                    <a:pt x="238227" y="198290"/>
                  </a:cubicBezTo>
                  <a:lnTo>
                    <a:pt x="335778" y="15737"/>
                  </a:lnTo>
                  <a:cubicBezTo>
                    <a:pt x="303605" y="48260"/>
                    <a:pt x="262233" y="56653"/>
                    <a:pt x="214614" y="56653"/>
                  </a:cubicBezTo>
                  <a:lnTo>
                    <a:pt x="86262" y="56653"/>
                  </a:lnTo>
                  <a:lnTo>
                    <a:pt x="83181" y="0"/>
                  </a:lnTo>
                  <a:close/>
                </a:path>
              </a:pathLst>
            </a:custGeom>
            <a:solidFill>
              <a:schemeClr val="accent6"/>
            </a:solidFill>
            <a:ln w="2907" cap="flat">
              <a:noFill/>
              <a:prstDash val="solid"/>
              <a:miter/>
            </a:ln>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sp>
          <p:nvSpPr>
            <p:cNvPr id="16" name="Freeform: Shape 35">
              <a:extLst>
                <a:ext uri="{FF2B5EF4-FFF2-40B4-BE49-F238E27FC236}">
                  <a16:creationId xmlns:a16="http://schemas.microsoft.com/office/drawing/2014/main" id="{CE8311D6-E2F3-4A89-81F4-4B22B85F21EA}"/>
                </a:ext>
              </a:extLst>
            </p:cNvPr>
            <p:cNvSpPr/>
            <p:nvPr/>
          </p:nvSpPr>
          <p:spPr>
            <a:xfrm>
              <a:off x="5656717" y="817839"/>
              <a:ext cx="1308985" cy="1308987"/>
            </a:xfrm>
            <a:custGeom>
              <a:avLst/>
              <a:gdLst>
                <a:gd name="connsiteX0" fmla="*/ 159347 w 238125"/>
                <a:gd name="connsiteY0" fmla="*/ 243615 h 238125"/>
                <a:gd name="connsiteX1" fmla="*/ 0 w 238125"/>
                <a:gd name="connsiteY1" fmla="*/ 149207 h 238125"/>
                <a:gd name="connsiteX2" fmla="*/ 85012 w 238125"/>
                <a:gd name="connsiteY2" fmla="*/ 18190 h 238125"/>
                <a:gd name="connsiteX3" fmla="*/ 244064 w 238125"/>
                <a:gd name="connsiteY3" fmla="*/ 105568 h 238125"/>
                <a:gd name="connsiteX4" fmla="*/ 159349 w 238125"/>
                <a:gd name="connsiteY4" fmla="*/ 243620 h 238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5" h="238125">
                  <a:moveTo>
                    <a:pt x="159347" y="243615"/>
                  </a:moveTo>
                  <a:lnTo>
                    <a:pt x="0" y="149207"/>
                  </a:lnTo>
                  <a:lnTo>
                    <a:pt x="85012" y="18190"/>
                  </a:lnTo>
                  <a:cubicBezTo>
                    <a:pt x="141943" y="-34102"/>
                    <a:pt x="211409" y="36095"/>
                    <a:pt x="244064" y="105568"/>
                  </a:cubicBezTo>
                  <a:lnTo>
                    <a:pt x="159349" y="243620"/>
                  </a:lnTo>
                  <a:close/>
                </a:path>
              </a:pathLst>
            </a:custGeom>
            <a:solidFill>
              <a:schemeClr val="accent2">
                <a:lumMod val="50000"/>
              </a:schemeClr>
            </a:solidFill>
            <a:ln w="2907" cap="flat">
              <a:noFill/>
              <a:prstDash val="solid"/>
              <a:miter/>
            </a:ln>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sp>
          <p:nvSpPr>
            <p:cNvPr id="17" name="Freeform: Shape 36">
              <a:extLst>
                <a:ext uri="{FF2B5EF4-FFF2-40B4-BE49-F238E27FC236}">
                  <a16:creationId xmlns:a16="http://schemas.microsoft.com/office/drawing/2014/main" id="{F9A85FF6-2CC6-4137-9AFC-6F050DABAFC6}"/>
                </a:ext>
              </a:extLst>
            </p:cNvPr>
            <p:cNvSpPr/>
            <p:nvPr/>
          </p:nvSpPr>
          <p:spPr>
            <a:xfrm>
              <a:off x="6497404" y="776897"/>
              <a:ext cx="1989659" cy="1256627"/>
            </a:xfrm>
            <a:custGeom>
              <a:avLst/>
              <a:gdLst>
                <a:gd name="connsiteX0" fmla="*/ 109150 w 361950"/>
                <a:gd name="connsiteY0" fmla="*/ 234791 h 228600"/>
                <a:gd name="connsiteX1" fmla="*/ 277900 w 361950"/>
                <a:gd name="connsiteY1" fmla="*/ 236269 h 228600"/>
                <a:gd name="connsiteX2" fmla="*/ 367704 w 361950"/>
                <a:gd name="connsiteY2" fmla="*/ 88133 h 228600"/>
                <a:gd name="connsiteX3" fmla="*/ 314637 w 361950"/>
                <a:gd name="connsiteY3" fmla="*/ 115835 h 228600"/>
                <a:gd name="connsiteX4" fmla="*/ 277754 w 361950"/>
                <a:gd name="connsiteY4" fmla="*/ 47957 h 228600"/>
                <a:gd name="connsiteX5" fmla="*/ 203564 w 361950"/>
                <a:gd name="connsiteY5" fmla="*/ 41 h 228600"/>
                <a:gd name="connsiteX6" fmla="*/ 0 w 361950"/>
                <a:gd name="connsiteY6" fmla="*/ 1508 h 228600"/>
                <a:gd name="connsiteX7" fmla="*/ 93824 w 361950"/>
                <a:gd name="connsiteY7" fmla="*/ 89885 h 228600"/>
                <a:gd name="connsiteX8" fmla="*/ 156125 w 361950"/>
                <a:gd name="connsiteY8" fmla="*/ 204545 h 228600"/>
                <a:gd name="connsiteX9" fmla="*/ 109141 w 361950"/>
                <a:gd name="connsiteY9" fmla="*/ 234796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950" h="228600">
                  <a:moveTo>
                    <a:pt x="109150" y="234791"/>
                  </a:moveTo>
                  <a:lnTo>
                    <a:pt x="277900" y="236269"/>
                  </a:lnTo>
                  <a:lnTo>
                    <a:pt x="367704" y="88133"/>
                  </a:lnTo>
                  <a:lnTo>
                    <a:pt x="314637" y="115835"/>
                  </a:lnTo>
                  <a:lnTo>
                    <a:pt x="277754" y="47957"/>
                  </a:lnTo>
                  <a:cubicBezTo>
                    <a:pt x="266392" y="22003"/>
                    <a:pt x="233086" y="-1105"/>
                    <a:pt x="203564" y="41"/>
                  </a:cubicBezTo>
                  <a:lnTo>
                    <a:pt x="0" y="1508"/>
                  </a:lnTo>
                  <a:cubicBezTo>
                    <a:pt x="43448" y="14463"/>
                    <a:pt x="70711" y="47346"/>
                    <a:pt x="93824" y="89885"/>
                  </a:cubicBezTo>
                  <a:lnTo>
                    <a:pt x="156125" y="204545"/>
                  </a:lnTo>
                  <a:lnTo>
                    <a:pt x="109141" y="234796"/>
                  </a:lnTo>
                  <a:close/>
                </a:path>
              </a:pathLst>
            </a:custGeom>
            <a:solidFill>
              <a:schemeClr val="accent2"/>
            </a:solidFill>
            <a:ln w="2907" cap="flat">
              <a:noFill/>
              <a:prstDash val="solid"/>
              <a:miter/>
            </a:ln>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sp>
          <p:nvSpPr>
            <p:cNvPr id="18" name="Freeform: Shape 37">
              <a:extLst>
                <a:ext uri="{FF2B5EF4-FFF2-40B4-BE49-F238E27FC236}">
                  <a16:creationId xmlns:a16="http://schemas.microsoft.com/office/drawing/2014/main" id="{F35EE8D7-AAFE-4121-BEB1-26E2DB6F5169}"/>
                </a:ext>
              </a:extLst>
            </p:cNvPr>
            <p:cNvSpPr/>
            <p:nvPr/>
          </p:nvSpPr>
          <p:spPr>
            <a:xfrm>
              <a:off x="4963886" y="2105881"/>
              <a:ext cx="1413704" cy="1308987"/>
            </a:xfrm>
            <a:custGeom>
              <a:avLst/>
              <a:gdLst>
                <a:gd name="connsiteX0" fmla="*/ 4098 w 257175"/>
                <a:gd name="connsiteY0" fmla="*/ 1483 h 238125"/>
                <a:gd name="connsiteX1" fmla="*/ 53472 w 257175"/>
                <a:gd name="connsiteY1" fmla="*/ 40059 h 238125"/>
                <a:gd name="connsiteX2" fmla="*/ 7002 w 257175"/>
                <a:gd name="connsiteY2" fmla="*/ 129082 h 238125"/>
                <a:gd name="connsiteX3" fmla="*/ 49115 w 257175"/>
                <a:gd name="connsiteY3" fmla="*/ 224036 h 238125"/>
                <a:gd name="connsiteX4" fmla="*/ 149315 w 257175"/>
                <a:gd name="connsiteY4" fmla="*/ 238873 h 238125"/>
                <a:gd name="connsiteX5" fmla="*/ 214663 w 257175"/>
                <a:gd name="connsiteY5" fmla="*/ 132048 h 238125"/>
                <a:gd name="connsiteX6" fmla="*/ 264036 w 257175"/>
                <a:gd name="connsiteY6" fmla="*/ 158755 h 238125"/>
                <a:gd name="connsiteX7" fmla="*/ 178359 w 257175"/>
                <a:gd name="connsiteY7" fmla="*/ 0 h 238125"/>
                <a:gd name="connsiteX8" fmla="*/ 4100 w 257175"/>
                <a:gd name="connsiteY8" fmla="*/ 148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238125">
                  <a:moveTo>
                    <a:pt x="4098" y="1483"/>
                  </a:moveTo>
                  <a:lnTo>
                    <a:pt x="53472" y="40059"/>
                  </a:lnTo>
                  <a:lnTo>
                    <a:pt x="7002" y="129082"/>
                  </a:lnTo>
                  <a:cubicBezTo>
                    <a:pt x="-16232" y="170131"/>
                    <a:pt x="23683" y="210120"/>
                    <a:pt x="49115" y="224036"/>
                  </a:cubicBezTo>
                  <a:cubicBezTo>
                    <a:pt x="74151" y="237738"/>
                    <a:pt x="113011" y="239368"/>
                    <a:pt x="149315" y="238873"/>
                  </a:cubicBezTo>
                  <a:lnTo>
                    <a:pt x="214663" y="132048"/>
                  </a:lnTo>
                  <a:lnTo>
                    <a:pt x="264036" y="158755"/>
                  </a:lnTo>
                  <a:lnTo>
                    <a:pt x="178359" y="0"/>
                  </a:lnTo>
                  <a:lnTo>
                    <a:pt x="4100" y="1483"/>
                  </a:lnTo>
                  <a:close/>
                </a:path>
              </a:pathLst>
            </a:custGeom>
            <a:solidFill>
              <a:schemeClr val="accent1">
                <a:lumMod val="75000"/>
              </a:schemeClr>
            </a:solidFill>
            <a:ln w="2907" cap="flat">
              <a:noFill/>
              <a:prstDash val="solid"/>
              <a:miter/>
            </a:ln>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sp>
          <p:nvSpPr>
            <p:cNvPr id="19" name="Freeform: Shape 38">
              <a:extLst>
                <a:ext uri="{FF2B5EF4-FFF2-40B4-BE49-F238E27FC236}">
                  <a16:creationId xmlns:a16="http://schemas.microsoft.com/office/drawing/2014/main" id="{7DAF3998-0242-45D2-B220-527B20A866C1}"/>
                </a:ext>
              </a:extLst>
            </p:cNvPr>
            <p:cNvSpPr/>
            <p:nvPr/>
          </p:nvSpPr>
          <p:spPr>
            <a:xfrm>
              <a:off x="5026326" y="3247729"/>
              <a:ext cx="1727861" cy="1204267"/>
            </a:xfrm>
            <a:custGeom>
              <a:avLst/>
              <a:gdLst>
                <a:gd name="connsiteX0" fmla="*/ 0 w 314325"/>
                <a:gd name="connsiteY0" fmla="*/ 1 h 219075"/>
                <a:gd name="connsiteX1" fmla="*/ 106004 w 314325"/>
                <a:gd name="connsiteY1" fmla="*/ 195853 h 219075"/>
                <a:gd name="connsiteX2" fmla="*/ 209110 w 314325"/>
                <a:gd name="connsiteY2" fmla="*/ 228495 h 219075"/>
                <a:gd name="connsiteX3" fmla="*/ 320927 w 314325"/>
                <a:gd name="connsiteY3" fmla="*/ 228495 h 219075"/>
                <a:gd name="connsiteX4" fmla="*/ 320927 w 314325"/>
                <a:gd name="connsiteY4" fmla="*/ 43027 h 219075"/>
                <a:gd name="connsiteX5" fmla="*/ 108910 w 314325"/>
                <a:gd name="connsiteY5" fmla="*/ 41544 h 219075"/>
                <a:gd name="connsiteX6" fmla="*/ 0 w 314325"/>
                <a:gd name="connsiteY6" fmla="*/ 0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325" h="219075">
                  <a:moveTo>
                    <a:pt x="0" y="1"/>
                  </a:moveTo>
                  <a:lnTo>
                    <a:pt x="106004" y="195853"/>
                  </a:lnTo>
                  <a:cubicBezTo>
                    <a:pt x="127302" y="223055"/>
                    <a:pt x="167479" y="229484"/>
                    <a:pt x="209110" y="228495"/>
                  </a:cubicBezTo>
                  <a:lnTo>
                    <a:pt x="320927" y="228495"/>
                  </a:lnTo>
                  <a:lnTo>
                    <a:pt x="320927" y="43027"/>
                  </a:lnTo>
                  <a:lnTo>
                    <a:pt x="108910" y="41544"/>
                  </a:lnTo>
                  <a:cubicBezTo>
                    <a:pt x="75995" y="43522"/>
                    <a:pt x="32914" y="36598"/>
                    <a:pt x="0" y="0"/>
                  </a:cubicBezTo>
                  <a:close/>
                </a:path>
              </a:pathLst>
            </a:custGeom>
            <a:solidFill>
              <a:schemeClr val="accent1">
                <a:lumMod val="40000"/>
                <a:lumOff val="60000"/>
              </a:schemeClr>
            </a:solidFill>
            <a:ln w="2907" cap="flat">
              <a:noFill/>
              <a:prstDash val="solid"/>
              <a:miter/>
            </a:ln>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grpSp>
      <p:pic>
        <p:nvPicPr>
          <p:cNvPr id="12" name="Picture 2" descr="EDEM Escuela de Empresarios, Fundación de la Comunidad Valenciana -  Asociación Valenciana de Fundaciones de la CV">
            <a:extLst>
              <a:ext uri="{FF2B5EF4-FFF2-40B4-BE49-F238E27FC236}">
                <a16:creationId xmlns:a16="http://schemas.microsoft.com/office/drawing/2014/main" id="{9AD170AD-5656-4E07-9D7A-4DAA856B3AE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68325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 name="Down Arrow 236"/>
          <p:cNvSpPr/>
          <p:nvPr/>
        </p:nvSpPr>
        <p:spPr>
          <a:xfrm>
            <a:off x="6495702" y="1908075"/>
            <a:ext cx="1089821" cy="1582772"/>
          </a:xfrm>
          <a:prstGeom prst="downArrow">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200" dirty="0">
              <a:solidFill>
                <a:schemeClr val="tx1"/>
              </a:solidFill>
            </a:endParaRPr>
          </a:p>
        </p:txBody>
      </p:sp>
      <p:sp>
        <p:nvSpPr>
          <p:cNvPr id="2" name="Title 1"/>
          <p:cNvSpPr>
            <a:spLocks noGrp="1"/>
          </p:cNvSpPr>
          <p:nvPr>
            <p:ph type="title"/>
          </p:nvPr>
        </p:nvSpPr>
        <p:spPr/>
        <p:txBody>
          <a:bodyPr/>
          <a:lstStyle/>
          <a:p>
            <a:r>
              <a:rPr lang="en-GB" dirty="0"/>
              <a:t>Log Compaction</a:t>
            </a:r>
          </a:p>
        </p:txBody>
      </p:sp>
      <p:sp>
        <p:nvSpPr>
          <p:cNvPr id="3" name="Date Placeholder 2"/>
          <p:cNvSpPr>
            <a:spLocks noGrp="1"/>
          </p:cNvSpPr>
          <p:nvPr>
            <p:ph type="dt" sz="half" idx="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97B746A9-829D-4556-8B99-7D5473FFBD99}" type="datetime1">
              <a:rPr kumimoji="0" lang="en-GB" sz="600" b="1" i="0" u="none" strike="noStrike" kern="1200" cap="none" spc="0" normalizeH="0" baseline="0" noProof="0" smtClean="0">
                <a:ln>
                  <a:noFill/>
                </a:ln>
                <a:solidFill>
                  <a:srgbClr val="000000"/>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02/12/2021</a:t>
            </a:fld>
            <a:endParaRPr kumimoji="0" lang="en-GB" sz="600" b="1" i="0" u="none" strike="noStrike" kern="1200" cap="none" spc="0" normalizeH="0" baseline="0" noProof="0" dirty="0">
              <a:ln>
                <a:noFill/>
              </a:ln>
              <a:solidFill>
                <a:srgbClr val="000000"/>
              </a:solidFill>
              <a:effectLst/>
              <a:uLnTx/>
              <a:uFillTx/>
              <a:latin typeface="Arial"/>
              <a:ea typeface="+mn-ea"/>
              <a:cs typeface="+mn-cs"/>
            </a:endParaRPr>
          </a:p>
        </p:txBody>
      </p:sp>
      <p:sp>
        <p:nvSpPr>
          <p:cNvPr id="4" name="Text Placeholder 3"/>
          <p:cNvSpPr>
            <a:spLocks noGrp="1"/>
          </p:cNvSpPr>
          <p:nvPr>
            <p:ph type="body" sz="quarter" idx="10"/>
          </p:nvPr>
        </p:nvSpPr>
        <p:spPr>
          <a:xfrm>
            <a:off x="839588" y="1525095"/>
            <a:ext cx="4227087" cy="2671501"/>
          </a:xfrm>
        </p:spPr>
        <p:txBody>
          <a:bodyPr/>
          <a:lstStyle/>
          <a:p>
            <a:r>
              <a:rPr lang="en-US" dirty="0"/>
              <a:t>Compacted topics provide a very different type of stream, maintaining only the most recent message of a given key</a:t>
            </a:r>
            <a:endParaRPr lang="en-GB" dirty="0"/>
          </a:p>
          <a:p>
            <a:pPr lvl="1"/>
            <a:r>
              <a:rPr lang="en-US" dirty="0">
                <a:solidFill>
                  <a:schemeClr val="accent2"/>
                </a:solidFill>
              </a:rPr>
              <a:t>Kafka makes extensive use of them internally </a:t>
            </a:r>
          </a:p>
          <a:p>
            <a:pPr lvl="2"/>
            <a:r>
              <a:rPr lang="en-US" i="1" dirty="0"/>
              <a:t>e.g:</a:t>
            </a:r>
            <a:r>
              <a:rPr lang="en-US" dirty="0"/>
              <a:t> persistence and tracking of consumer offsets</a:t>
            </a:r>
          </a:p>
          <a:p>
            <a:pPr lvl="1"/>
            <a:r>
              <a:rPr lang="en-GB" dirty="0"/>
              <a:t>User’s applications: useful for changelog-type data, where only the last update is interesting</a:t>
            </a:r>
          </a:p>
          <a:p>
            <a:pPr lvl="2"/>
            <a:r>
              <a:rPr lang="en-GB" i="1" dirty="0"/>
              <a:t>e.g:</a:t>
            </a:r>
            <a:r>
              <a:rPr lang="en-GB" dirty="0"/>
              <a:t> restoring in-memory service after a crash, reloading a cache, …</a:t>
            </a:r>
          </a:p>
          <a:p>
            <a:r>
              <a:rPr lang="en-GB" dirty="0"/>
              <a:t>Log compaction periodically runs in background</a:t>
            </a:r>
          </a:p>
          <a:p>
            <a:pPr lvl="1"/>
            <a:r>
              <a:rPr lang="en-GB" dirty="0"/>
              <a:t>Compaction allows for deletes – record with key and null value</a:t>
            </a:r>
          </a:p>
          <a:p>
            <a:r>
              <a:rPr lang="en-GB" dirty="0"/>
              <a:t>All offsets remain valid, even if the record at offset has been compacted</a:t>
            </a:r>
          </a:p>
        </p:txBody>
      </p:sp>
      <p:grpSp>
        <p:nvGrpSpPr>
          <p:cNvPr id="7" name="Group 6"/>
          <p:cNvGrpSpPr/>
          <p:nvPr/>
        </p:nvGrpSpPr>
        <p:grpSpPr>
          <a:xfrm>
            <a:off x="5645086" y="1423370"/>
            <a:ext cx="415295" cy="443775"/>
            <a:chOff x="4524551" y="3756113"/>
            <a:chExt cx="819227" cy="875407"/>
          </a:xfrm>
        </p:grpSpPr>
        <p:grpSp>
          <p:nvGrpSpPr>
            <p:cNvPr id="8" name="Group 7"/>
            <p:cNvGrpSpPr/>
            <p:nvPr/>
          </p:nvGrpSpPr>
          <p:grpSpPr>
            <a:xfrm>
              <a:off x="4524551" y="3756113"/>
              <a:ext cx="754662" cy="875407"/>
              <a:chOff x="6708741" y="967041"/>
              <a:chExt cx="1144680" cy="1327828"/>
            </a:xfrm>
          </p:grpSpPr>
          <p:sp>
            <p:nvSpPr>
              <p:cNvPr id="10" name="Hexagon 9"/>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 name="Hexagon 10"/>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9" name="TextBox 8"/>
            <p:cNvSpPr txBox="1"/>
            <p:nvPr/>
          </p:nvSpPr>
          <p:spPr>
            <a:xfrm>
              <a:off x="4784306" y="3981998"/>
              <a:ext cx="559472" cy="149248"/>
            </a:xfrm>
            <a:prstGeom prst="rect">
              <a:avLst/>
            </a:prstGeom>
            <a:noFill/>
          </p:spPr>
          <p:txBody>
            <a:bodyPr wrap="square" lIns="0" tIns="0" rIns="0" bIns="0" rtlCol="0">
              <a:spAutoFit/>
            </a:bodyPr>
            <a:lstStyle/>
            <a:p>
              <a:r>
                <a:rPr lang="es-ES" sz="1400" b="1" dirty="0"/>
                <a:t>0</a:t>
              </a:r>
              <a:endParaRPr lang="en-GB" sz="1400" b="1" dirty="0" err="1"/>
            </a:p>
          </p:txBody>
        </p:sp>
      </p:grpSp>
      <p:grpSp>
        <p:nvGrpSpPr>
          <p:cNvPr id="12" name="Group 11"/>
          <p:cNvGrpSpPr/>
          <p:nvPr/>
        </p:nvGrpSpPr>
        <p:grpSpPr>
          <a:xfrm>
            <a:off x="6033343" y="1423370"/>
            <a:ext cx="415295" cy="443775"/>
            <a:chOff x="4524551" y="3756113"/>
            <a:chExt cx="819227" cy="875407"/>
          </a:xfrm>
        </p:grpSpPr>
        <p:grpSp>
          <p:nvGrpSpPr>
            <p:cNvPr id="13" name="Group 12"/>
            <p:cNvGrpSpPr/>
            <p:nvPr/>
          </p:nvGrpSpPr>
          <p:grpSpPr>
            <a:xfrm>
              <a:off x="4524551" y="3756113"/>
              <a:ext cx="754662" cy="875407"/>
              <a:chOff x="6708741" y="967041"/>
              <a:chExt cx="1144680" cy="1327828"/>
            </a:xfrm>
          </p:grpSpPr>
          <p:sp>
            <p:nvSpPr>
              <p:cNvPr id="15" name="Hexagon 14"/>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6" name="Hexagon 15"/>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4" name="TextBox 13"/>
            <p:cNvSpPr txBox="1"/>
            <p:nvPr/>
          </p:nvSpPr>
          <p:spPr>
            <a:xfrm>
              <a:off x="4784306" y="3981998"/>
              <a:ext cx="559472" cy="424993"/>
            </a:xfrm>
            <a:prstGeom prst="rect">
              <a:avLst/>
            </a:prstGeom>
            <a:noFill/>
          </p:spPr>
          <p:txBody>
            <a:bodyPr wrap="square" lIns="0" tIns="0" rIns="0" bIns="0" rtlCol="0">
              <a:spAutoFit/>
            </a:bodyPr>
            <a:lstStyle/>
            <a:p>
              <a:r>
                <a:rPr lang="es-ES" sz="1400" b="1" dirty="0"/>
                <a:t>1</a:t>
              </a:r>
              <a:endParaRPr lang="en-GB" sz="1400" b="1" dirty="0" err="1"/>
            </a:p>
          </p:txBody>
        </p:sp>
      </p:grpSp>
      <p:grpSp>
        <p:nvGrpSpPr>
          <p:cNvPr id="17" name="Group 16"/>
          <p:cNvGrpSpPr/>
          <p:nvPr/>
        </p:nvGrpSpPr>
        <p:grpSpPr>
          <a:xfrm>
            <a:off x="6422996" y="1423370"/>
            <a:ext cx="415295" cy="443775"/>
            <a:chOff x="4524551" y="3756113"/>
            <a:chExt cx="819227" cy="875407"/>
          </a:xfrm>
        </p:grpSpPr>
        <p:grpSp>
          <p:nvGrpSpPr>
            <p:cNvPr id="18" name="Group 17"/>
            <p:cNvGrpSpPr/>
            <p:nvPr/>
          </p:nvGrpSpPr>
          <p:grpSpPr>
            <a:xfrm>
              <a:off x="4524551" y="3756113"/>
              <a:ext cx="754662" cy="875407"/>
              <a:chOff x="6708741" y="967041"/>
              <a:chExt cx="1144680" cy="1327828"/>
            </a:xfrm>
          </p:grpSpPr>
          <p:sp>
            <p:nvSpPr>
              <p:cNvPr id="20" name="Hexagon 19"/>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21" name="Hexagon 20"/>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9" name="TextBox 18"/>
            <p:cNvSpPr txBox="1"/>
            <p:nvPr/>
          </p:nvSpPr>
          <p:spPr>
            <a:xfrm>
              <a:off x="4784306" y="3981998"/>
              <a:ext cx="559472" cy="424993"/>
            </a:xfrm>
            <a:prstGeom prst="rect">
              <a:avLst/>
            </a:prstGeom>
            <a:noFill/>
          </p:spPr>
          <p:txBody>
            <a:bodyPr wrap="square" lIns="0" tIns="0" rIns="0" bIns="0" rtlCol="0">
              <a:spAutoFit/>
            </a:bodyPr>
            <a:lstStyle/>
            <a:p>
              <a:r>
                <a:rPr lang="es-ES" sz="1400" b="1" dirty="0"/>
                <a:t>2</a:t>
              </a:r>
              <a:endParaRPr lang="en-GB" sz="1400" b="1" dirty="0" err="1"/>
            </a:p>
          </p:txBody>
        </p:sp>
      </p:grpSp>
      <p:grpSp>
        <p:nvGrpSpPr>
          <p:cNvPr id="22" name="Group 21"/>
          <p:cNvGrpSpPr/>
          <p:nvPr/>
        </p:nvGrpSpPr>
        <p:grpSpPr>
          <a:xfrm>
            <a:off x="6811253" y="1423370"/>
            <a:ext cx="415295" cy="443775"/>
            <a:chOff x="4524551" y="3756113"/>
            <a:chExt cx="819227" cy="875407"/>
          </a:xfrm>
        </p:grpSpPr>
        <p:grpSp>
          <p:nvGrpSpPr>
            <p:cNvPr id="23" name="Group 22"/>
            <p:cNvGrpSpPr/>
            <p:nvPr/>
          </p:nvGrpSpPr>
          <p:grpSpPr>
            <a:xfrm>
              <a:off x="4524551" y="3756113"/>
              <a:ext cx="754662" cy="875407"/>
              <a:chOff x="6708741" y="967041"/>
              <a:chExt cx="1144680" cy="1327828"/>
            </a:xfrm>
          </p:grpSpPr>
          <p:sp>
            <p:nvSpPr>
              <p:cNvPr id="25" name="Hexagon 24"/>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26" name="Hexagon 25"/>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24" name="TextBox 23"/>
            <p:cNvSpPr txBox="1"/>
            <p:nvPr/>
          </p:nvSpPr>
          <p:spPr>
            <a:xfrm>
              <a:off x="4784306" y="3981998"/>
              <a:ext cx="559472" cy="424993"/>
            </a:xfrm>
            <a:prstGeom prst="rect">
              <a:avLst/>
            </a:prstGeom>
            <a:noFill/>
          </p:spPr>
          <p:txBody>
            <a:bodyPr wrap="square" lIns="0" tIns="0" rIns="0" bIns="0" rtlCol="0">
              <a:spAutoFit/>
            </a:bodyPr>
            <a:lstStyle/>
            <a:p>
              <a:r>
                <a:rPr lang="es-ES" sz="1400" b="1" dirty="0"/>
                <a:t>3</a:t>
              </a:r>
              <a:endParaRPr lang="en-GB" sz="1400" b="1" dirty="0" err="1"/>
            </a:p>
          </p:txBody>
        </p:sp>
      </p:grpSp>
      <p:grpSp>
        <p:nvGrpSpPr>
          <p:cNvPr id="27" name="Group 26"/>
          <p:cNvGrpSpPr/>
          <p:nvPr/>
        </p:nvGrpSpPr>
        <p:grpSpPr>
          <a:xfrm>
            <a:off x="7200906" y="1423369"/>
            <a:ext cx="415295" cy="443775"/>
            <a:chOff x="4524551" y="3756113"/>
            <a:chExt cx="819227" cy="875407"/>
          </a:xfrm>
        </p:grpSpPr>
        <p:grpSp>
          <p:nvGrpSpPr>
            <p:cNvPr id="28" name="Group 27"/>
            <p:cNvGrpSpPr/>
            <p:nvPr/>
          </p:nvGrpSpPr>
          <p:grpSpPr>
            <a:xfrm>
              <a:off x="4524551" y="3756113"/>
              <a:ext cx="754662" cy="875407"/>
              <a:chOff x="6708741" y="967041"/>
              <a:chExt cx="1144680" cy="1327828"/>
            </a:xfrm>
          </p:grpSpPr>
          <p:sp>
            <p:nvSpPr>
              <p:cNvPr id="30" name="Hexagon 29"/>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31" name="Hexagon 30"/>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29" name="TextBox 28"/>
            <p:cNvSpPr txBox="1"/>
            <p:nvPr/>
          </p:nvSpPr>
          <p:spPr>
            <a:xfrm>
              <a:off x="4784306" y="3981998"/>
              <a:ext cx="559472" cy="424993"/>
            </a:xfrm>
            <a:prstGeom prst="rect">
              <a:avLst/>
            </a:prstGeom>
            <a:noFill/>
          </p:spPr>
          <p:txBody>
            <a:bodyPr wrap="square" lIns="0" tIns="0" rIns="0" bIns="0" rtlCol="0">
              <a:spAutoFit/>
            </a:bodyPr>
            <a:lstStyle/>
            <a:p>
              <a:r>
                <a:rPr lang="es-ES" sz="1400" b="1" dirty="0"/>
                <a:t>4</a:t>
              </a:r>
              <a:endParaRPr lang="en-GB" sz="1400" b="1" dirty="0" err="1"/>
            </a:p>
          </p:txBody>
        </p:sp>
      </p:grpSp>
      <p:grpSp>
        <p:nvGrpSpPr>
          <p:cNvPr id="32" name="Group 31"/>
          <p:cNvGrpSpPr/>
          <p:nvPr/>
        </p:nvGrpSpPr>
        <p:grpSpPr>
          <a:xfrm>
            <a:off x="7589163" y="1423369"/>
            <a:ext cx="415295" cy="443775"/>
            <a:chOff x="4524551" y="3756113"/>
            <a:chExt cx="819227" cy="875407"/>
          </a:xfrm>
        </p:grpSpPr>
        <p:grpSp>
          <p:nvGrpSpPr>
            <p:cNvPr id="33" name="Group 32"/>
            <p:cNvGrpSpPr/>
            <p:nvPr/>
          </p:nvGrpSpPr>
          <p:grpSpPr>
            <a:xfrm>
              <a:off x="4524551" y="3756113"/>
              <a:ext cx="754662" cy="875407"/>
              <a:chOff x="6708741" y="967041"/>
              <a:chExt cx="1144680" cy="1327828"/>
            </a:xfrm>
          </p:grpSpPr>
          <p:sp>
            <p:nvSpPr>
              <p:cNvPr id="35" name="Hexagon 34"/>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36" name="Hexagon 35"/>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34" name="TextBox 33"/>
            <p:cNvSpPr txBox="1"/>
            <p:nvPr/>
          </p:nvSpPr>
          <p:spPr>
            <a:xfrm>
              <a:off x="4784306" y="3981998"/>
              <a:ext cx="559472" cy="424993"/>
            </a:xfrm>
            <a:prstGeom prst="rect">
              <a:avLst/>
            </a:prstGeom>
            <a:noFill/>
          </p:spPr>
          <p:txBody>
            <a:bodyPr wrap="square" lIns="0" tIns="0" rIns="0" bIns="0" rtlCol="0">
              <a:spAutoFit/>
            </a:bodyPr>
            <a:lstStyle/>
            <a:p>
              <a:r>
                <a:rPr lang="es-ES" sz="1400" b="1" dirty="0"/>
                <a:t>5</a:t>
              </a:r>
              <a:endParaRPr lang="en-GB" sz="1400" b="1" dirty="0" err="1"/>
            </a:p>
          </p:txBody>
        </p:sp>
      </p:grpSp>
      <p:grpSp>
        <p:nvGrpSpPr>
          <p:cNvPr id="42" name="Group 41"/>
          <p:cNvGrpSpPr/>
          <p:nvPr/>
        </p:nvGrpSpPr>
        <p:grpSpPr>
          <a:xfrm>
            <a:off x="5635769" y="1862406"/>
            <a:ext cx="393488" cy="443775"/>
            <a:chOff x="4524551" y="3756113"/>
            <a:chExt cx="776210" cy="875407"/>
          </a:xfrm>
        </p:grpSpPr>
        <p:grpSp>
          <p:nvGrpSpPr>
            <p:cNvPr id="43" name="Group 42"/>
            <p:cNvGrpSpPr/>
            <p:nvPr/>
          </p:nvGrpSpPr>
          <p:grpSpPr>
            <a:xfrm>
              <a:off x="4524551" y="3756113"/>
              <a:ext cx="754662" cy="875407"/>
              <a:chOff x="6708741" y="967041"/>
              <a:chExt cx="1144680" cy="1327828"/>
            </a:xfrm>
          </p:grpSpPr>
          <p:sp>
            <p:nvSpPr>
              <p:cNvPr id="45" name="Hexagon 44"/>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46" name="Hexagon 45"/>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44" name="TextBox 43"/>
            <p:cNvSpPr txBox="1"/>
            <p:nvPr/>
          </p:nvSpPr>
          <p:spPr>
            <a:xfrm>
              <a:off x="4741289" y="4014526"/>
              <a:ext cx="559472" cy="333922"/>
            </a:xfrm>
            <a:prstGeom prst="rect">
              <a:avLst/>
            </a:prstGeom>
            <a:noFill/>
          </p:spPr>
          <p:txBody>
            <a:bodyPr wrap="square" lIns="0" tIns="0" rIns="0" bIns="0" rtlCol="0">
              <a:spAutoFit/>
            </a:bodyPr>
            <a:lstStyle/>
            <a:p>
              <a:r>
                <a:rPr lang="es-ES" sz="1100" b="1" dirty="0"/>
                <a:t>K1</a:t>
              </a:r>
              <a:endParaRPr lang="en-GB" sz="1100" b="1" dirty="0" err="1"/>
            </a:p>
          </p:txBody>
        </p:sp>
      </p:grpSp>
      <p:grpSp>
        <p:nvGrpSpPr>
          <p:cNvPr id="112" name="Group 111"/>
          <p:cNvGrpSpPr/>
          <p:nvPr/>
        </p:nvGrpSpPr>
        <p:grpSpPr>
          <a:xfrm>
            <a:off x="6023777" y="1862100"/>
            <a:ext cx="393488" cy="443775"/>
            <a:chOff x="4524551" y="3756113"/>
            <a:chExt cx="776210" cy="875407"/>
          </a:xfrm>
        </p:grpSpPr>
        <p:grpSp>
          <p:nvGrpSpPr>
            <p:cNvPr id="113" name="Group 112"/>
            <p:cNvGrpSpPr/>
            <p:nvPr/>
          </p:nvGrpSpPr>
          <p:grpSpPr>
            <a:xfrm>
              <a:off x="4524551" y="3756113"/>
              <a:ext cx="754662" cy="875407"/>
              <a:chOff x="6708741" y="967041"/>
              <a:chExt cx="1144680" cy="1327828"/>
            </a:xfrm>
          </p:grpSpPr>
          <p:sp>
            <p:nvSpPr>
              <p:cNvPr id="115" name="Hexagon 114"/>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6" name="Hexagon 115"/>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14" name="TextBox 113"/>
            <p:cNvSpPr txBox="1"/>
            <p:nvPr/>
          </p:nvSpPr>
          <p:spPr>
            <a:xfrm>
              <a:off x="4741289" y="4014526"/>
              <a:ext cx="559472" cy="333922"/>
            </a:xfrm>
            <a:prstGeom prst="rect">
              <a:avLst/>
            </a:prstGeom>
            <a:noFill/>
          </p:spPr>
          <p:txBody>
            <a:bodyPr wrap="square" lIns="0" tIns="0" rIns="0" bIns="0" rtlCol="0">
              <a:spAutoFit/>
            </a:bodyPr>
            <a:lstStyle/>
            <a:p>
              <a:r>
                <a:rPr lang="es-ES" sz="1100" b="1" dirty="0"/>
                <a:t>K2</a:t>
              </a:r>
              <a:endParaRPr lang="en-GB" sz="1100" b="1" dirty="0" err="1"/>
            </a:p>
          </p:txBody>
        </p:sp>
      </p:grpSp>
      <p:grpSp>
        <p:nvGrpSpPr>
          <p:cNvPr id="117" name="Group 116"/>
          <p:cNvGrpSpPr/>
          <p:nvPr/>
        </p:nvGrpSpPr>
        <p:grpSpPr>
          <a:xfrm>
            <a:off x="6423456" y="1862406"/>
            <a:ext cx="393488" cy="443775"/>
            <a:chOff x="4524551" y="3756113"/>
            <a:chExt cx="776210" cy="875407"/>
          </a:xfrm>
        </p:grpSpPr>
        <p:grpSp>
          <p:nvGrpSpPr>
            <p:cNvPr id="118" name="Group 117"/>
            <p:cNvGrpSpPr/>
            <p:nvPr/>
          </p:nvGrpSpPr>
          <p:grpSpPr>
            <a:xfrm>
              <a:off x="4524551" y="3756113"/>
              <a:ext cx="754662" cy="875407"/>
              <a:chOff x="6708741" y="967041"/>
              <a:chExt cx="1144680" cy="1327828"/>
            </a:xfrm>
          </p:grpSpPr>
          <p:sp>
            <p:nvSpPr>
              <p:cNvPr id="120" name="Hexagon 119"/>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1" name="Hexagon 120"/>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19" name="TextBox 118"/>
            <p:cNvSpPr txBox="1"/>
            <p:nvPr/>
          </p:nvSpPr>
          <p:spPr>
            <a:xfrm>
              <a:off x="4741289" y="4014526"/>
              <a:ext cx="559472" cy="333922"/>
            </a:xfrm>
            <a:prstGeom prst="rect">
              <a:avLst/>
            </a:prstGeom>
            <a:noFill/>
          </p:spPr>
          <p:txBody>
            <a:bodyPr wrap="square" lIns="0" tIns="0" rIns="0" bIns="0" rtlCol="0">
              <a:spAutoFit/>
            </a:bodyPr>
            <a:lstStyle/>
            <a:p>
              <a:r>
                <a:rPr lang="es-ES" sz="1100" b="1" dirty="0"/>
                <a:t>K1</a:t>
              </a:r>
              <a:endParaRPr lang="en-GB" sz="1100" b="1" dirty="0" err="1"/>
            </a:p>
          </p:txBody>
        </p:sp>
      </p:grpSp>
      <p:grpSp>
        <p:nvGrpSpPr>
          <p:cNvPr id="122" name="Group 121"/>
          <p:cNvGrpSpPr/>
          <p:nvPr/>
        </p:nvGrpSpPr>
        <p:grpSpPr>
          <a:xfrm>
            <a:off x="6823283" y="1862406"/>
            <a:ext cx="393488" cy="443775"/>
            <a:chOff x="4524551" y="3756113"/>
            <a:chExt cx="776210" cy="875407"/>
          </a:xfrm>
        </p:grpSpPr>
        <p:grpSp>
          <p:nvGrpSpPr>
            <p:cNvPr id="123" name="Group 122"/>
            <p:cNvGrpSpPr/>
            <p:nvPr/>
          </p:nvGrpSpPr>
          <p:grpSpPr>
            <a:xfrm>
              <a:off x="4524551" y="3756113"/>
              <a:ext cx="754662" cy="875407"/>
              <a:chOff x="6708741" y="967041"/>
              <a:chExt cx="1144680" cy="1327828"/>
            </a:xfrm>
          </p:grpSpPr>
          <p:sp>
            <p:nvSpPr>
              <p:cNvPr id="125" name="Hexagon 124"/>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6" name="Hexagon 125"/>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24" name="TextBox 123"/>
            <p:cNvSpPr txBox="1"/>
            <p:nvPr/>
          </p:nvSpPr>
          <p:spPr>
            <a:xfrm>
              <a:off x="4741289" y="4014526"/>
              <a:ext cx="559472" cy="333922"/>
            </a:xfrm>
            <a:prstGeom prst="rect">
              <a:avLst/>
            </a:prstGeom>
            <a:noFill/>
          </p:spPr>
          <p:txBody>
            <a:bodyPr wrap="square" lIns="0" tIns="0" rIns="0" bIns="0" rtlCol="0">
              <a:spAutoFit/>
            </a:bodyPr>
            <a:lstStyle/>
            <a:p>
              <a:r>
                <a:rPr lang="es-ES" sz="1100" b="1" dirty="0"/>
                <a:t>K3</a:t>
              </a:r>
              <a:endParaRPr lang="en-GB" sz="1100" b="1" dirty="0" err="1"/>
            </a:p>
          </p:txBody>
        </p:sp>
      </p:grpSp>
      <p:grpSp>
        <p:nvGrpSpPr>
          <p:cNvPr id="127" name="Group 126"/>
          <p:cNvGrpSpPr/>
          <p:nvPr/>
        </p:nvGrpSpPr>
        <p:grpSpPr>
          <a:xfrm>
            <a:off x="7211291" y="1862100"/>
            <a:ext cx="393488" cy="443775"/>
            <a:chOff x="4524551" y="3756113"/>
            <a:chExt cx="776210" cy="875407"/>
          </a:xfrm>
        </p:grpSpPr>
        <p:grpSp>
          <p:nvGrpSpPr>
            <p:cNvPr id="128" name="Group 127"/>
            <p:cNvGrpSpPr/>
            <p:nvPr/>
          </p:nvGrpSpPr>
          <p:grpSpPr>
            <a:xfrm>
              <a:off x="4524551" y="3756113"/>
              <a:ext cx="754662" cy="875407"/>
              <a:chOff x="6708741" y="967041"/>
              <a:chExt cx="1144680" cy="1327828"/>
            </a:xfrm>
          </p:grpSpPr>
          <p:sp>
            <p:nvSpPr>
              <p:cNvPr id="130" name="Hexagon 129"/>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1" name="Hexagon 130"/>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29" name="TextBox 128"/>
            <p:cNvSpPr txBox="1"/>
            <p:nvPr/>
          </p:nvSpPr>
          <p:spPr>
            <a:xfrm>
              <a:off x="4741289" y="4014526"/>
              <a:ext cx="559472" cy="333922"/>
            </a:xfrm>
            <a:prstGeom prst="rect">
              <a:avLst/>
            </a:prstGeom>
            <a:noFill/>
          </p:spPr>
          <p:txBody>
            <a:bodyPr wrap="square" lIns="0" tIns="0" rIns="0" bIns="0" rtlCol="0">
              <a:spAutoFit/>
            </a:bodyPr>
            <a:lstStyle/>
            <a:p>
              <a:r>
                <a:rPr lang="es-ES" sz="1100" b="1" dirty="0"/>
                <a:t>K2</a:t>
              </a:r>
              <a:endParaRPr lang="en-GB" sz="1100" b="1" dirty="0" err="1"/>
            </a:p>
          </p:txBody>
        </p:sp>
      </p:grpSp>
      <p:grpSp>
        <p:nvGrpSpPr>
          <p:cNvPr id="132" name="Group 131"/>
          <p:cNvGrpSpPr/>
          <p:nvPr/>
        </p:nvGrpSpPr>
        <p:grpSpPr>
          <a:xfrm>
            <a:off x="7610970" y="1862406"/>
            <a:ext cx="393488" cy="443775"/>
            <a:chOff x="4524551" y="3756113"/>
            <a:chExt cx="776210" cy="875407"/>
          </a:xfrm>
        </p:grpSpPr>
        <p:grpSp>
          <p:nvGrpSpPr>
            <p:cNvPr id="133" name="Group 132"/>
            <p:cNvGrpSpPr/>
            <p:nvPr/>
          </p:nvGrpSpPr>
          <p:grpSpPr>
            <a:xfrm>
              <a:off x="4524551" y="3756113"/>
              <a:ext cx="754662" cy="875407"/>
              <a:chOff x="6708741" y="967041"/>
              <a:chExt cx="1144680" cy="1327828"/>
            </a:xfrm>
          </p:grpSpPr>
          <p:sp>
            <p:nvSpPr>
              <p:cNvPr id="135" name="Hexagon 134"/>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6" name="Hexagon 135"/>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34" name="TextBox 133"/>
            <p:cNvSpPr txBox="1"/>
            <p:nvPr/>
          </p:nvSpPr>
          <p:spPr>
            <a:xfrm>
              <a:off x="4741289" y="4014526"/>
              <a:ext cx="559472" cy="333922"/>
            </a:xfrm>
            <a:prstGeom prst="rect">
              <a:avLst/>
            </a:prstGeom>
            <a:noFill/>
          </p:spPr>
          <p:txBody>
            <a:bodyPr wrap="square" lIns="0" tIns="0" rIns="0" bIns="0" rtlCol="0">
              <a:spAutoFit/>
            </a:bodyPr>
            <a:lstStyle/>
            <a:p>
              <a:r>
                <a:rPr lang="es-ES" sz="1100" b="1" dirty="0"/>
                <a:t>K1</a:t>
              </a:r>
              <a:endParaRPr lang="en-GB" sz="1100" b="1" dirty="0" err="1"/>
            </a:p>
          </p:txBody>
        </p:sp>
      </p:grpSp>
      <p:grpSp>
        <p:nvGrpSpPr>
          <p:cNvPr id="142" name="Group 141"/>
          <p:cNvGrpSpPr/>
          <p:nvPr/>
        </p:nvGrpSpPr>
        <p:grpSpPr>
          <a:xfrm>
            <a:off x="5651885" y="2301135"/>
            <a:ext cx="393488" cy="443775"/>
            <a:chOff x="4524551" y="3756113"/>
            <a:chExt cx="776210" cy="875407"/>
          </a:xfrm>
        </p:grpSpPr>
        <p:grpSp>
          <p:nvGrpSpPr>
            <p:cNvPr id="143" name="Group 142"/>
            <p:cNvGrpSpPr/>
            <p:nvPr/>
          </p:nvGrpSpPr>
          <p:grpSpPr>
            <a:xfrm>
              <a:off x="4524551" y="3756113"/>
              <a:ext cx="754662" cy="875407"/>
              <a:chOff x="6708741" y="967041"/>
              <a:chExt cx="1144680" cy="1327828"/>
            </a:xfrm>
          </p:grpSpPr>
          <p:sp>
            <p:nvSpPr>
              <p:cNvPr id="145" name="Hexagon 144"/>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46" name="Hexagon 145"/>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44" name="TextBox 143"/>
            <p:cNvSpPr txBox="1"/>
            <p:nvPr/>
          </p:nvSpPr>
          <p:spPr>
            <a:xfrm>
              <a:off x="4741289" y="4014526"/>
              <a:ext cx="559472" cy="333922"/>
            </a:xfrm>
            <a:prstGeom prst="rect">
              <a:avLst/>
            </a:prstGeom>
            <a:noFill/>
          </p:spPr>
          <p:txBody>
            <a:bodyPr wrap="square" lIns="0" tIns="0" rIns="0" bIns="0" rtlCol="0">
              <a:spAutoFit/>
            </a:bodyPr>
            <a:lstStyle/>
            <a:p>
              <a:r>
                <a:rPr lang="es-ES" sz="1100" b="1" dirty="0"/>
                <a:t>V1</a:t>
              </a:r>
              <a:endParaRPr lang="en-GB" sz="1100" b="1" dirty="0" err="1"/>
            </a:p>
          </p:txBody>
        </p:sp>
      </p:grpSp>
      <p:grpSp>
        <p:nvGrpSpPr>
          <p:cNvPr id="147" name="Group 146"/>
          <p:cNvGrpSpPr/>
          <p:nvPr/>
        </p:nvGrpSpPr>
        <p:grpSpPr>
          <a:xfrm>
            <a:off x="6039893" y="2300829"/>
            <a:ext cx="393488" cy="443775"/>
            <a:chOff x="4524551" y="3756113"/>
            <a:chExt cx="776210" cy="875407"/>
          </a:xfrm>
        </p:grpSpPr>
        <p:grpSp>
          <p:nvGrpSpPr>
            <p:cNvPr id="148" name="Group 147"/>
            <p:cNvGrpSpPr/>
            <p:nvPr/>
          </p:nvGrpSpPr>
          <p:grpSpPr>
            <a:xfrm>
              <a:off x="4524551" y="3756113"/>
              <a:ext cx="754662" cy="875407"/>
              <a:chOff x="6708741" y="967041"/>
              <a:chExt cx="1144680" cy="1327828"/>
            </a:xfrm>
          </p:grpSpPr>
          <p:sp>
            <p:nvSpPr>
              <p:cNvPr id="150" name="Hexagon 149"/>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51" name="Hexagon 150"/>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49" name="TextBox 148"/>
            <p:cNvSpPr txBox="1"/>
            <p:nvPr/>
          </p:nvSpPr>
          <p:spPr>
            <a:xfrm>
              <a:off x="4741289" y="4014526"/>
              <a:ext cx="559472" cy="333922"/>
            </a:xfrm>
            <a:prstGeom prst="rect">
              <a:avLst/>
            </a:prstGeom>
            <a:noFill/>
          </p:spPr>
          <p:txBody>
            <a:bodyPr wrap="square" lIns="0" tIns="0" rIns="0" bIns="0" rtlCol="0">
              <a:spAutoFit/>
            </a:bodyPr>
            <a:lstStyle/>
            <a:p>
              <a:r>
                <a:rPr lang="es-ES" sz="1100" b="1" dirty="0"/>
                <a:t>V2</a:t>
              </a:r>
              <a:endParaRPr lang="en-GB" sz="1100" b="1" dirty="0" err="1"/>
            </a:p>
          </p:txBody>
        </p:sp>
      </p:grpSp>
      <p:grpSp>
        <p:nvGrpSpPr>
          <p:cNvPr id="152" name="Group 151"/>
          <p:cNvGrpSpPr/>
          <p:nvPr/>
        </p:nvGrpSpPr>
        <p:grpSpPr>
          <a:xfrm>
            <a:off x="6439572" y="2301135"/>
            <a:ext cx="393488" cy="443775"/>
            <a:chOff x="4524551" y="3756113"/>
            <a:chExt cx="776210" cy="875407"/>
          </a:xfrm>
        </p:grpSpPr>
        <p:grpSp>
          <p:nvGrpSpPr>
            <p:cNvPr id="153" name="Group 152"/>
            <p:cNvGrpSpPr/>
            <p:nvPr/>
          </p:nvGrpSpPr>
          <p:grpSpPr>
            <a:xfrm>
              <a:off x="4524551" y="3756113"/>
              <a:ext cx="754662" cy="875407"/>
              <a:chOff x="6708741" y="967041"/>
              <a:chExt cx="1144680" cy="1327828"/>
            </a:xfrm>
          </p:grpSpPr>
          <p:sp>
            <p:nvSpPr>
              <p:cNvPr id="155" name="Hexagon 154"/>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56" name="Hexagon 155"/>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54" name="TextBox 153"/>
            <p:cNvSpPr txBox="1"/>
            <p:nvPr/>
          </p:nvSpPr>
          <p:spPr>
            <a:xfrm>
              <a:off x="4741289" y="4014526"/>
              <a:ext cx="559472" cy="333922"/>
            </a:xfrm>
            <a:prstGeom prst="rect">
              <a:avLst/>
            </a:prstGeom>
            <a:noFill/>
          </p:spPr>
          <p:txBody>
            <a:bodyPr wrap="square" lIns="0" tIns="0" rIns="0" bIns="0" rtlCol="0">
              <a:spAutoFit/>
            </a:bodyPr>
            <a:lstStyle/>
            <a:p>
              <a:r>
                <a:rPr lang="es-ES" sz="1100" b="1" dirty="0"/>
                <a:t>V3</a:t>
              </a:r>
              <a:endParaRPr lang="en-GB" sz="1100" b="1" dirty="0" err="1"/>
            </a:p>
          </p:txBody>
        </p:sp>
      </p:grpSp>
      <p:grpSp>
        <p:nvGrpSpPr>
          <p:cNvPr id="157" name="Group 156"/>
          <p:cNvGrpSpPr/>
          <p:nvPr/>
        </p:nvGrpSpPr>
        <p:grpSpPr>
          <a:xfrm>
            <a:off x="6839399" y="2301135"/>
            <a:ext cx="393488" cy="443775"/>
            <a:chOff x="4524551" y="3756113"/>
            <a:chExt cx="776210" cy="875407"/>
          </a:xfrm>
        </p:grpSpPr>
        <p:grpSp>
          <p:nvGrpSpPr>
            <p:cNvPr id="158" name="Group 157"/>
            <p:cNvGrpSpPr/>
            <p:nvPr/>
          </p:nvGrpSpPr>
          <p:grpSpPr>
            <a:xfrm>
              <a:off x="4524551" y="3756113"/>
              <a:ext cx="754662" cy="875407"/>
              <a:chOff x="6708741" y="967041"/>
              <a:chExt cx="1144680" cy="1327828"/>
            </a:xfrm>
          </p:grpSpPr>
          <p:sp>
            <p:nvSpPr>
              <p:cNvPr id="160" name="Hexagon 159"/>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61" name="Hexagon 160"/>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59" name="TextBox 158"/>
            <p:cNvSpPr txBox="1"/>
            <p:nvPr/>
          </p:nvSpPr>
          <p:spPr>
            <a:xfrm>
              <a:off x="4741289" y="4014526"/>
              <a:ext cx="559472" cy="333922"/>
            </a:xfrm>
            <a:prstGeom prst="rect">
              <a:avLst/>
            </a:prstGeom>
            <a:noFill/>
          </p:spPr>
          <p:txBody>
            <a:bodyPr wrap="square" lIns="0" tIns="0" rIns="0" bIns="0" rtlCol="0">
              <a:spAutoFit/>
            </a:bodyPr>
            <a:lstStyle/>
            <a:p>
              <a:r>
                <a:rPr lang="es-ES" sz="1100" b="1" dirty="0"/>
                <a:t>V4</a:t>
              </a:r>
              <a:endParaRPr lang="en-GB" sz="1100" b="1" dirty="0" err="1"/>
            </a:p>
          </p:txBody>
        </p:sp>
      </p:grpSp>
      <p:grpSp>
        <p:nvGrpSpPr>
          <p:cNvPr id="162" name="Group 161"/>
          <p:cNvGrpSpPr/>
          <p:nvPr/>
        </p:nvGrpSpPr>
        <p:grpSpPr>
          <a:xfrm>
            <a:off x="7227407" y="2300829"/>
            <a:ext cx="393488" cy="443775"/>
            <a:chOff x="4524551" y="3756113"/>
            <a:chExt cx="776210" cy="875407"/>
          </a:xfrm>
        </p:grpSpPr>
        <p:grpSp>
          <p:nvGrpSpPr>
            <p:cNvPr id="163" name="Group 162"/>
            <p:cNvGrpSpPr/>
            <p:nvPr/>
          </p:nvGrpSpPr>
          <p:grpSpPr>
            <a:xfrm>
              <a:off x="4524551" y="3756113"/>
              <a:ext cx="754662" cy="875407"/>
              <a:chOff x="6708741" y="967041"/>
              <a:chExt cx="1144680" cy="1327828"/>
            </a:xfrm>
          </p:grpSpPr>
          <p:sp>
            <p:nvSpPr>
              <p:cNvPr id="165" name="Hexagon 164"/>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66" name="Hexagon 165"/>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64" name="TextBox 163"/>
            <p:cNvSpPr txBox="1"/>
            <p:nvPr/>
          </p:nvSpPr>
          <p:spPr>
            <a:xfrm>
              <a:off x="4741289" y="4014526"/>
              <a:ext cx="559472" cy="333922"/>
            </a:xfrm>
            <a:prstGeom prst="rect">
              <a:avLst/>
            </a:prstGeom>
            <a:noFill/>
          </p:spPr>
          <p:txBody>
            <a:bodyPr wrap="square" lIns="0" tIns="0" rIns="0" bIns="0" rtlCol="0">
              <a:spAutoFit/>
            </a:bodyPr>
            <a:lstStyle/>
            <a:p>
              <a:r>
                <a:rPr lang="es-ES" sz="1100" b="1" dirty="0"/>
                <a:t>V5</a:t>
              </a:r>
              <a:endParaRPr lang="en-GB" sz="1100" b="1" dirty="0" err="1"/>
            </a:p>
          </p:txBody>
        </p:sp>
      </p:grpSp>
      <p:grpSp>
        <p:nvGrpSpPr>
          <p:cNvPr id="167" name="Group 166"/>
          <p:cNvGrpSpPr/>
          <p:nvPr/>
        </p:nvGrpSpPr>
        <p:grpSpPr>
          <a:xfrm>
            <a:off x="7627086" y="2301135"/>
            <a:ext cx="393488" cy="443775"/>
            <a:chOff x="4524551" y="3756113"/>
            <a:chExt cx="776210" cy="875407"/>
          </a:xfrm>
        </p:grpSpPr>
        <p:grpSp>
          <p:nvGrpSpPr>
            <p:cNvPr id="168" name="Group 167"/>
            <p:cNvGrpSpPr/>
            <p:nvPr/>
          </p:nvGrpSpPr>
          <p:grpSpPr>
            <a:xfrm>
              <a:off x="4524551" y="3756113"/>
              <a:ext cx="754662" cy="875407"/>
              <a:chOff x="6708741" y="967041"/>
              <a:chExt cx="1144680" cy="1327828"/>
            </a:xfrm>
          </p:grpSpPr>
          <p:sp>
            <p:nvSpPr>
              <p:cNvPr id="170" name="Hexagon 169"/>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71" name="Hexagon 170"/>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69" name="TextBox 168"/>
            <p:cNvSpPr txBox="1"/>
            <p:nvPr/>
          </p:nvSpPr>
          <p:spPr>
            <a:xfrm>
              <a:off x="4741289" y="4014526"/>
              <a:ext cx="559472" cy="333922"/>
            </a:xfrm>
            <a:prstGeom prst="rect">
              <a:avLst/>
            </a:prstGeom>
            <a:noFill/>
          </p:spPr>
          <p:txBody>
            <a:bodyPr wrap="square" lIns="0" tIns="0" rIns="0" bIns="0" rtlCol="0">
              <a:spAutoFit/>
            </a:bodyPr>
            <a:lstStyle/>
            <a:p>
              <a:r>
                <a:rPr lang="es-ES" sz="1100" b="1" dirty="0"/>
                <a:t>V6</a:t>
              </a:r>
              <a:endParaRPr lang="en-GB" sz="1100" b="1" dirty="0" err="1"/>
            </a:p>
          </p:txBody>
        </p:sp>
      </p:grpSp>
      <p:grpSp>
        <p:nvGrpSpPr>
          <p:cNvPr id="172" name="Group 171"/>
          <p:cNvGrpSpPr/>
          <p:nvPr/>
        </p:nvGrpSpPr>
        <p:grpSpPr>
          <a:xfrm>
            <a:off x="7992895" y="1423370"/>
            <a:ext cx="415295" cy="443775"/>
            <a:chOff x="4524551" y="3756113"/>
            <a:chExt cx="819227" cy="875407"/>
          </a:xfrm>
        </p:grpSpPr>
        <p:grpSp>
          <p:nvGrpSpPr>
            <p:cNvPr id="173" name="Group 172"/>
            <p:cNvGrpSpPr/>
            <p:nvPr/>
          </p:nvGrpSpPr>
          <p:grpSpPr>
            <a:xfrm>
              <a:off x="4524551" y="3756113"/>
              <a:ext cx="754662" cy="875407"/>
              <a:chOff x="6708741" y="967041"/>
              <a:chExt cx="1144680" cy="1327828"/>
            </a:xfrm>
          </p:grpSpPr>
          <p:sp>
            <p:nvSpPr>
              <p:cNvPr id="175" name="Hexagon 174"/>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76" name="Hexagon 175"/>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74" name="TextBox 173"/>
            <p:cNvSpPr txBox="1"/>
            <p:nvPr/>
          </p:nvSpPr>
          <p:spPr>
            <a:xfrm>
              <a:off x="4784306" y="3981998"/>
              <a:ext cx="559472" cy="424993"/>
            </a:xfrm>
            <a:prstGeom prst="rect">
              <a:avLst/>
            </a:prstGeom>
            <a:noFill/>
          </p:spPr>
          <p:txBody>
            <a:bodyPr wrap="square" lIns="0" tIns="0" rIns="0" bIns="0" rtlCol="0">
              <a:spAutoFit/>
            </a:bodyPr>
            <a:lstStyle/>
            <a:p>
              <a:r>
                <a:rPr lang="es-ES" sz="1400" b="1" dirty="0"/>
                <a:t>6</a:t>
              </a:r>
              <a:endParaRPr lang="en-GB" sz="1400" b="1" dirty="0" err="1"/>
            </a:p>
          </p:txBody>
        </p:sp>
      </p:grpSp>
      <p:grpSp>
        <p:nvGrpSpPr>
          <p:cNvPr id="177" name="Group 176"/>
          <p:cNvGrpSpPr/>
          <p:nvPr/>
        </p:nvGrpSpPr>
        <p:grpSpPr>
          <a:xfrm>
            <a:off x="7993355" y="1862406"/>
            <a:ext cx="393488" cy="443775"/>
            <a:chOff x="4524551" y="3756113"/>
            <a:chExt cx="776210" cy="875407"/>
          </a:xfrm>
        </p:grpSpPr>
        <p:grpSp>
          <p:nvGrpSpPr>
            <p:cNvPr id="178" name="Group 177"/>
            <p:cNvGrpSpPr/>
            <p:nvPr/>
          </p:nvGrpSpPr>
          <p:grpSpPr>
            <a:xfrm>
              <a:off x="4524551" y="3756113"/>
              <a:ext cx="754662" cy="875407"/>
              <a:chOff x="6708741" y="967041"/>
              <a:chExt cx="1144680" cy="1327828"/>
            </a:xfrm>
          </p:grpSpPr>
          <p:sp>
            <p:nvSpPr>
              <p:cNvPr id="180" name="Hexagon 179"/>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81" name="Hexagon 180"/>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79" name="TextBox 178"/>
            <p:cNvSpPr txBox="1"/>
            <p:nvPr/>
          </p:nvSpPr>
          <p:spPr>
            <a:xfrm>
              <a:off x="4741289" y="4014526"/>
              <a:ext cx="559472" cy="333922"/>
            </a:xfrm>
            <a:prstGeom prst="rect">
              <a:avLst/>
            </a:prstGeom>
            <a:noFill/>
          </p:spPr>
          <p:txBody>
            <a:bodyPr wrap="square" lIns="0" tIns="0" rIns="0" bIns="0" rtlCol="0">
              <a:spAutoFit/>
            </a:bodyPr>
            <a:lstStyle/>
            <a:p>
              <a:r>
                <a:rPr lang="es-ES" sz="1100" b="1" dirty="0"/>
                <a:t>K2</a:t>
              </a:r>
              <a:endParaRPr lang="en-GB" sz="1100" b="1" dirty="0" err="1"/>
            </a:p>
          </p:txBody>
        </p:sp>
      </p:grpSp>
      <p:grpSp>
        <p:nvGrpSpPr>
          <p:cNvPr id="182" name="Group 181"/>
          <p:cNvGrpSpPr/>
          <p:nvPr/>
        </p:nvGrpSpPr>
        <p:grpSpPr>
          <a:xfrm>
            <a:off x="8009471" y="2301135"/>
            <a:ext cx="393488" cy="443775"/>
            <a:chOff x="4524551" y="3756113"/>
            <a:chExt cx="776210" cy="875407"/>
          </a:xfrm>
        </p:grpSpPr>
        <p:grpSp>
          <p:nvGrpSpPr>
            <p:cNvPr id="183" name="Group 182"/>
            <p:cNvGrpSpPr/>
            <p:nvPr/>
          </p:nvGrpSpPr>
          <p:grpSpPr>
            <a:xfrm>
              <a:off x="4524551" y="3756113"/>
              <a:ext cx="754662" cy="875407"/>
              <a:chOff x="6708741" y="967041"/>
              <a:chExt cx="1144680" cy="1327828"/>
            </a:xfrm>
          </p:grpSpPr>
          <p:sp>
            <p:nvSpPr>
              <p:cNvPr id="185" name="Hexagon 184"/>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86" name="Hexagon 185"/>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84" name="TextBox 183"/>
            <p:cNvSpPr txBox="1"/>
            <p:nvPr/>
          </p:nvSpPr>
          <p:spPr>
            <a:xfrm>
              <a:off x="4741289" y="4014526"/>
              <a:ext cx="559472" cy="333922"/>
            </a:xfrm>
            <a:prstGeom prst="rect">
              <a:avLst/>
            </a:prstGeom>
            <a:noFill/>
          </p:spPr>
          <p:txBody>
            <a:bodyPr wrap="square" lIns="0" tIns="0" rIns="0" bIns="0" rtlCol="0">
              <a:spAutoFit/>
            </a:bodyPr>
            <a:lstStyle/>
            <a:p>
              <a:r>
                <a:rPr lang="es-ES" sz="1100" b="1" dirty="0"/>
                <a:t>V7</a:t>
              </a:r>
              <a:endParaRPr lang="en-GB" sz="1100" b="1" dirty="0" err="1"/>
            </a:p>
          </p:txBody>
        </p:sp>
      </p:grpSp>
      <p:grpSp>
        <p:nvGrpSpPr>
          <p:cNvPr id="192" name="Group 191"/>
          <p:cNvGrpSpPr/>
          <p:nvPr/>
        </p:nvGrpSpPr>
        <p:grpSpPr>
          <a:xfrm>
            <a:off x="6843983" y="3246298"/>
            <a:ext cx="408341" cy="467909"/>
            <a:chOff x="7891893" y="1185046"/>
            <a:chExt cx="517067" cy="599797"/>
          </a:xfrm>
        </p:grpSpPr>
        <p:grpSp>
          <p:nvGrpSpPr>
            <p:cNvPr id="193" name="Group 192"/>
            <p:cNvGrpSpPr/>
            <p:nvPr/>
          </p:nvGrpSpPr>
          <p:grpSpPr>
            <a:xfrm>
              <a:off x="7891893" y="1185046"/>
              <a:ext cx="517067" cy="599797"/>
              <a:chOff x="6708741" y="967041"/>
              <a:chExt cx="1144680" cy="1327828"/>
            </a:xfrm>
          </p:grpSpPr>
          <p:sp>
            <p:nvSpPr>
              <p:cNvPr id="195" name="Hexagon 194"/>
              <p:cNvSpPr/>
              <p:nvPr/>
            </p:nvSpPr>
            <p:spPr>
              <a:xfrm rot="16200000">
                <a:off x="6617167" y="1058615"/>
                <a:ext cx="1327828" cy="1144680"/>
              </a:xfrm>
              <a:prstGeom prst="hexagon">
                <a:avLst/>
              </a:prstGeom>
              <a:solidFill>
                <a:srgbClr val="59BBE6">
                  <a:lumMod val="60000"/>
                  <a:lumOff val="40000"/>
                </a:srgbClr>
              </a:solidFill>
              <a:ln w="12700" cap="flat" cmpd="sng" algn="ctr">
                <a:noFill/>
                <a:prstDash val="solid"/>
                <a:miter lim="800000"/>
              </a:ln>
              <a:effectLst/>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a:ea typeface="+mn-ea"/>
                  <a:cs typeface="+mn-cs"/>
                </a:endParaRPr>
              </a:p>
            </p:txBody>
          </p:sp>
          <p:sp>
            <p:nvSpPr>
              <p:cNvPr id="196" name="Hexagon 195"/>
              <p:cNvSpPr/>
              <p:nvPr/>
            </p:nvSpPr>
            <p:spPr>
              <a:xfrm rot="16200000">
                <a:off x="6730770" y="1156551"/>
                <a:ext cx="1100619" cy="948810"/>
              </a:xfrm>
              <a:prstGeom prst="hexagon">
                <a:avLst/>
              </a:prstGeom>
              <a:gradFill flip="none" rotWithShape="1">
                <a:gsLst>
                  <a:gs pos="0">
                    <a:srgbClr val="EDEDED">
                      <a:lumMod val="90000"/>
                    </a:srgbClr>
                  </a:gs>
                  <a:gs pos="53000">
                    <a:srgbClr val="F1EFF0"/>
                  </a:gs>
                  <a:gs pos="77000">
                    <a:srgbClr val="EFEDEE"/>
                  </a:gs>
                  <a:gs pos="100000">
                    <a:srgbClr val="EFEBEC"/>
                  </a:gs>
                </a:gsLst>
                <a:path path="circle">
                  <a:fillToRect l="100000" b="100000"/>
                </a:path>
                <a:tileRect t="-100000" r="-100000"/>
              </a:gradFill>
              <a:ln w="12700" cap="flat" cmpd="sng" algn="ctr">
                <a:noFill/>
                <a:prstDash val="solid"/>
                <a:miter lim="800000"/>
              </a:ln>
              <a:effectLst>
                <a:outerShdw blurRad="101600" dist="50800" dir="2700000" algn="tl" rotWithShape="0">
                  <a:prstClr val="black">
                    <a:alpha val="40000"/>
                  </a:prstClr>
                </a:outerShdw>
              </a:effectLst>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194" name="TextBox 193"/>
            <p:cNvSpPr txBox="1"/>
            <p:nvPr/>
          </p:nvSpPr>
          <p:spPr>
            <a:xfrm>
              <a:off x="8116025" y="1411829"/>
              <a:ext cx="49459" cy="149150"/>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900" b="0" i="0" u="none" strike="noStrike" kern="0" cap="none" spc="0" normalizeH="0" baseline="0" noProof="0" dirty="0">
                  <a:ln>
                    <a:noFill/>
                  </a:ln>
                  <a:solidFill>
                    <a:srgbClr val="000000"/>
                  </a:solidFill>
                  <a:effectLst/>
                  <a:uLnTx/>
                  <a:uFillTx/>
                </a:rPr>
                <a:t>5</a:t>
              </a:r>
              <a:endParaRPr kumimoji="0" lang="en-GB" sz="2000" b="0" i="0" u="none" strike="noStrike" kern="0" cap="none" spc="0" normalizeH="0" baseline="0" noProof="0" dirty="0" err="1">
                <a:ln>
                  <a:noFill/>
                </a:ln>
                <a:solidFill>
                  <a:srgbClr val="000000"/>
                </a:solidFill>
                <a:effectLst/>
                <a:uLnTx/>
                <a:uFillTx/>
              </a:endParaRPr>
            </a:p>
          </p:txBody>
        </p:sp>
      </p:grpSp>
      <p:grpSp>
        <p:nvGrpSpPr>
          <p:cNvPr id="197" name="Group 196"/>
          <p:cNvGrpSpPr/>
          <p:nvPr/>
        </p:nvGrpSpPr>
        <p:grpSpPr>
          <a:xfrm>
            <a:off x="6851909" y="3714207"/>
            <a:ext cx="408341" cy="467909"/>
            <a:chOff x="7891893" y="1185046"/>
            <a:chExt cx="517067" cy="599797"/>
          </a:xfrm>
        </p:grpSpPr>
        <p:grpSp>
          <p:nvGrpSpPr>
            <p:cNvPr id="198" name="Group 197"/>
            <p:cNvGrpSpPr/>
            <p:nvPr/>
          </p:nvGrpSpPr>
          <p:grpSpPr>
            <a:xfrm>
              <a:off x="7891893" y="1185046"/>
              <a:ext cx="517067" cy="599797"/>
              <a:chOff x="6708741" y="967041"/>
              <a:chExt cx="1144680" cy="1327828"/>
            </a:xfrm>
          </p:grpSpPr>
          <p:sp>
            <p:nvSpPr>
              <p:cNvPr id="200" name="Hexagon 199"/>
              <p:cNvSpPr/>
              <p:nvPr/>
            </p:nvSpPr>
            <p:spPr>
              <a:xfrm rot="16200000">
                <a:off x="6617167" y="1058615"/>
                <a:ext cx="1327828" cy="1144680"/>
              </a:xfrm>
              <a:prstGeom prst="hexagon">
                <a:avLst/>
              </a:prstGeom>
              <a:solidFill>
                <a:srgbClr val="59BBE6">
                  <a:lumMod val="60000"/>
                  <a:lumOff val="40000"/>
                </a:srgbClr>
              </a:solidFill>
              <a:ln w="12700" cap="flat" cmpd="sng" algn="ctr">
                <a:noFill/>
                <a:prstDash val="solid"/>
                <a:miter lim="800000"/>
              </a:ln>
              <a:effectLst/>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a:ea typeface="+mn-ea"/>
                  <a:cs typeface="+mn-cs"/>
                </a:endParaRPr>
              </a:p>
            </p:txBody>
          </p:sp>
          <p:sp>
            <p:nvSpPr>
              <p:cNvPr id="201" name="Hexagon 200"/>
              <p:cNvSpPr/>
              <p:nvPr/>
            </p:nvSpPr>
            <p:spPr>
              <a:xfrm rot="16200000">
                <a:off x="6730770" y="1156551"/>
                <a:ext cx="1100619" cy="948810"/>
              </a:xfrm>
              <a:prstGeom prst="hexagon">
                <a:avLst/>
              </a:prstGeom>
              <a:gradFill flip="none" rotWithShape="1">
                <a:gsLst>
                  <a:gs pos="0">
                    <a:srgbClr val="EDEDED">
                      <a:lumMod val="90000"/>
                    </a:srgbClr>
                  </a:gs>
                  <a:gs pos="53000">
                    <a:srgbClr val="F1EFF0"/>
                  </a:gs>
                  <a:gs pos="77000">
                    <a:srgbClr val="EFEDEE"/>
                  </a:gs>
                  <a:gs pos="100000">
                    <a:srgbClr val="EFEBEC"/>
                  </a:gs>
                </a:gsLst>
                <a:path path="circle">
                  <a:fillToRect l="100000" b="100000"/>
                </a:path>
                <a:tileRect t="-100000" r="-100000"/>
              </a:gradFill>
              <a:ln w="12700" cap="flat" cmpd="sng" algn="ctr">
                <a:noFill/>
                <a:prstDash val="solid"/>
                <a:miter lim="800000"/>
              </a:ln>
              <a:effectLst>
                <a:outerShdw blurRad="101600" dist="50800" dir="2700000" algn="tl" rotWithShape="0">
                  <a:prstClr val="black">
                    <a:alpha val="40000"/>
                  </a:prstClr>
                </a:outerShdw>
              </a:effectLst>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199" name="TextBox 198"/>
            <p:cNvSpPr txBox="1"/>
            <p:nvPr/>
          </p:nvSpPr>
          <p:spPr>
            <a:xfrm>
              <a:off x="8051052" y="1411829"/>
              <a:ext cx="186114" cy="118359"/>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600" b="0" i="0" u="none" strike="noStrike" kern="0" cap="none" spc="0" normalizeH="0" baseline="0" noProof="0" dirty="0">
                  <a:ln>
                    <a:noFill/>
                  </a:ln>
                  <a:solidFill>
                    <a:srgbClr val="000000"/>
                  </a:solidFill>
                  <a:effectLst/>
                  <a:uLnTx/>
                  <a:uFillTx/>
                </a:rPr>
                <a:t>K1</a:t>
              </a:r>
              <a:endParaRPr kumimoji="0" lang="en-GB" sz="1400" b="0" i="0" u="none" strike="noStrike" kern="0" cap="none" spc="0" normalizeH="0" baseline="0" noProof="0" dirty="0" err="1">
                <a:ln>
                  <a:noFill/>
                </a:ln>
                <a:solidFill>
                  <a:srgbClr val="000000"/>
                </a:solidFill>
                <a:effectLst/>
                <a:uLnTx/>
                <a:uFillTx/>
              </a:endParaRPr>
            </a:p>
          </p:txBody>
        </p:sp>
      </p:grpSp>
      <p:grpSp>
        <p:nvGrpSpPr>
          <p:cNvPr id="202" name="Group 201"/>
          <p:cNvGrpSpPr/>
          <p:nvPr/>
        </p:nvGrpSpPr>
        <p:grpSpPr>
          <a:xfrm>
            <a:off x="6865387" y="4182116"/>
            <a:ext cx="408341" cy="467909"/>
            <a:chOff x="7891893" y="1185046"/>
            <a:chExt cx="517067" cy="599797"/>
          </a:xfrm>
        </p:grpSpPr>
        <p:grpSp>
          <p:nvGrpSpPr>
            <p:cNvPr id="203" name="Group 202"/>
            <p:cNvGrpSpPr/>
            <p:nvPr/>
          </p:nvGrpSpPr>
          <p:grpSpPr>
            <a:xfrm>
              <a:off x="7891893" y="1185046"/>
              <a:ext cx="517067" cy="599797"/>
              <a:chOff x="6708741" y="967041"/>
              <a:chExt cx="1144680" cy="1327828"/>
            </a:xfrm>
          </p:grpSpPr>
          <p:sp>
            <p:nvSpPr>
              <p:cNvPr id="205" name="Hexagon 204"/>
              <p:cNvSpPr/>
              <p:nvPr/>
            </p:nvSpPr>
            <p:spPr>
              <a:xfrm rot="16200000">
                <a:off x="6617167" y="1058615"/>
                <a:ext cx="1327828" cy="1144680"/>
              </a:xfrm>
              <a:prstGeom prst="hexagon">
                <a:avLst/>
              </a:prstGeom>
              <a:solidFill>
                <a:srgbClr val="59BBE6">
                  <a:lumMod val="60000"/>
                  <a:lumOff val="40000"/>
                </a:srgbClr>
              </a:solidFill>
              <a:ln w="12700" cap="flat" cmpd="sng" algn="ctr">
                <a:noFill/>
                <a:prstDash val="solid"/>
                <a:miter lim="800000"/>
              </a:ln>
              <a:effectLst/>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a:ea typeface="+mn-ea"/>
                  <a:cs typeface="+mn-cs"/>
                </a:endParaRPr>
              </a:p>
            </p:txBody>
          </p:sp>
          <p:sp>
            <p:nvSpPr>
              <p:cNvPr id="206" name="Hexagon 205"/>
              <p:cNvSpPr/>
              <p:nvPr/>
            </p:nvSpPr>
            <p:spPr>
              <a:xfrm rot="16200000">
                <a:off x="6730770" y="1156551"/>
                <a:ext cx="1100619" cy="948810"/>
              </a:xfrm>
              <a:prstGeom prst="hexagon">
                <a:avLst/>
              </a:prstGeom>
              <a:gradFill flip="none" rotWithShape="1">
                <a:gsLst>
                  <a:gs pos="0">
                    <a:srgbClr val="EDEDED">
                      <a:lumMod val="90000"/>
                    </a:srgbClr>
                  </a:gs>
                  <a:gs pos="53000">
                    <a:srgbClr val="F1EFF0"/>
                  </a:gs>
                  <a:gs pos="77000">
                    <a:srgbClr val="EFEDEE"/>
                  </a:gs>
                  <a:gs pos="100000">
                    <a:srgbClr val="EFEBEC"/>
                  </a:gs>
                </a:gsLst>
                <a:path path="circle">
                  <a:fillToRect l="100000" b="100000"/>
                </a:path>
                <a:tileRect t="-100000" r="-100000"/>
              </a:gradFill>
              <a:ln w="12700" cap="flat" cmpd="sng" algn="ctr">
                <a:noFill/>
                <a:prstDash val="solid"/>
                <a:miter lim="800000"/>
              </a:ln>
              <a:effectLst>
                <a:outerShdw blurRad="101600" dist="50800" dir="2700000" algn="tl" rotWithShape="0">
                  <a:prstClr val="black">
                    <a:alpha val="40000"/>
                  </a:prstClr>
                </a:outerShdw>
              </a:effectLst>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204" name="TextBox 203"/>
            <p:cNvSpPr txBox="1"/>
            <p:nvPr/>
          </p:nvSpPr>
          <p:spPr>
            <a:xfrm>
              <a:off x="8051052" y="1411829"/>
              <a:ext cx="186114" cy="118359"/>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600" b="0" i="0" u="none" strike="noStrike" kern="0" cap="none" spc="0" normalizeH="0" baseline="0" noProof="0" dirty="0">
                  <a:ln>
                    <a:noFill/>
                  </a:ln>
                  <a:solidFill>
                    <a:srgbClr val="000000"/>
                  </a:solidFill>
                  <a:effectLst/>
                  <a:uLnTx/>
                  <a:uFillTx/>
                </a:rPr>
                <a:t>V6</a:t>
              </a:r>
              <a:endParaRPr kumimoji="0" lang="en-GB" sz="1400" b="0" i="0" u="none" strike="noStrike" kern="0" cap="none" spc="0" normalizeH="0" baseline="0" noProof="0" dirty="0" err="1">
                <a:ln>
                  <a:noFill/>
                </a:ln>
                <a:solidFill>
                  <a:srgbClr val="000000"/>
                </a:solidFill>
                <a:effectLst/>
                <a:uLnTx/>
                <a:uFillTx/>
              </a:endParaRPr>
            </a:p>
          </p:txBody>
        </p:sp>
      </p:grpSp>
      <p:grpSp>
        <p:nvGrpSpPr>
          <p:cNvPr id="207" name="Group 206"/>
          <p:cNvGrpSpPr/>
          <p:nvPr/>
        </p:nvGrpSpPr>
        <p:grpSpPr>
          <a:xfrm>
            <a:off x="7295186" y="3246298"/>
            <a:ext cx="408341" cy="467909"/>
            <a:chOff x="7891893" y="1185046"/>
            <a:chExt cx="517067" cy="599797"/>
          </a:xfrm>
        </p:grpSpPr>
        <p:grpSp>
          <p:nvGrpSpPr>
            <p:cNvPr id="208" name="Group 207"/>
            <p:cNvGrpSpPr/>
            <p:nvPr/>
          </p:nvGrpSpPr>
          <p:grpSpPr>
            <a:xfrm>
              <a:off x="7891893" y="1185046"/>
              <a:ext cx="517067" cy="599797"/>
              <a:chOff x="6708741" y="967041"/>
              <a:chExt cx="1144680" cy="1327828"/>
            </a:xfrm>
          </p:grpSpPr>
          <p:sp>
            <p:nvSpPr>
              <p:cNvPr id="210" name="Hexagon 209"/>
              <p:cNvSpPr/>
              <p:nvPr/>
            </p:nvSpPr>
            <p:spPr>
              <a:xfrm rot="16200000">
                <a:off x="6617167" y="1058615"/>
                <a:ext cx="1327828" cy="1144680"/>
              </a:xfrm>
              <a:prstGeom prst="hexagon">
                <a:avLst/>
              </a:prstGeom>
              <a:solidFill>
                <a:srgbClr val="59BBE6">
                  <a:lumMod val="60000"/>
                  <a:lumOff val="40000"/>
                </a:srgbClr>
              </a:solidFill>
              <a:ln w="12700" cap="flat" cmpd="sng" algn="ctr">
                <a:noFill/>
                <a:prstDash val="solid"/>
                <a:miter lim="800000"/>
              </a:ln>
              <a:effectLst/>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a:ea typeface="+mn-ea"/>
                  <a:cs typeface="+mn-cs"/>
                </a:endParaRPr>
              </a:p>
            </p:txBody>
          </p:sp>
          <p:sp>
            <p:nvSpPr>
              <p:cNvPr id="211" name="Hexagon 210"/>
              <p:cNvSpPr/>
              <p:nvPr/>
            </p:nvSpPr>
            <p:spPr>
              <a:xfrm rot="16200000">
                <a:off x="6730770" y="1156551"/>
                <a:ext cx="1100619" cy="948810"/>
              </a:xfrm>
              <a:prstGeom prst="hexagon">
                <a:avLst/>
              </a:prstGeom>
              <a:gradFill flip="none" rotWithShape="1">
                <a:gsLst>
                  <a:gs pos="0">
                    <a:srgbClr val="EDEDED">
                      <a:lumMod val="90000"/>
                    </a:srgbClr>
                  </a:gs>
                  <a:gs pos="53000">
                    <a:srgbClr val="F1EFF0"/>
                  </a:gs>
                  <a:gs pos="77000">
                    <a:srgbClr val="EFEDEE"/>
                  </a:gs>
                  <a:gs pos="100000">
                    <a:srgbClr val="EFEBEC"/>
                  </a:gs>
                </a:gsLst>
                <a:path path="circle">
                  <a:fillToRect l="100000" b="100000"/>
                </a:path>
                <a:tileRect t="-100000" r="-100000"/>
              </a:gradFill>
              <a:ln w="12700" cap="flat" cmpd="sng" algn="ctr">
                <a:noFill/>
                <a:prstDash val="solid"/>
                <a:miter lim="800000"/>
              </a:ln>
              <a:effectLst>
                <a:outerShdw blurRad="101600" dist="50800" dir="2700000" algn="tl" rotWithShape="0">
                  <a:prstClr val="black">
                    <a:alpha val="40000"/>
                  </a:prstClr>
                </a:outerShdw>
              </a:effectLst>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209" name="TextBox 208"/>
            <p:cNvSpPr txBox="1"/>
            <p:nvPr/>
          </p:nvSpPr>
          <p:spPr>
            <a:xfrm>
              <a:off x="8116025" y="1411829"/>
              <a:ext cx="49459" cy="177537"/>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900" b="0" i="0" u="none" strike="noStrike" kern="0" cap="none" spc="0" normalizeH="0" baseline="0" noProof="0" dirty="0">
                  <a:ln>
                    <a:noFill/>
                  </a:ln>
                  <a:solidFill>
                    <a:srgbClr val="000000"/>
                  </a:solidFill>
                  <a:effectLst/>
                  <a:uLnTx/>
                  <a:uFillTx/>
                </a:rPr>
                <a:t>6</a:t>
              </a:r>
              <a:endParaRPr kumimoji="0" lang="en-GB" sz="2000" b="0" i="0" u="none" strike="noStrike" kern="0" cap="none" spc="0" normalizeH="0" baseline="0" noProof="0" dirty="0" err="1">
                <a:ln>
                  <a:noFill/>
                </a:ln>
                <a:solidFill>
                  <a:srgbClr val="000000"/>
                </a:solidFill>
                <a:effectLst/>
                <a:uLnTx/>
                <a:uFillTx/>
              </a:endParaRPr>
            </a:p>
          </p:txBody>
        </p:sp>
      </p:grpSp>
      <p:grpSp>
        <p:nvGrpSpPr>
          <p:cNvPr id="212" name="Group 211"/>
          <p:cNvGrpSpPr/>
          <p:nvPr/>
        </p:nvGrpSpPr>
        <p:grpSpPr>
          <a:xfrm>
            <a:off x="7303112" y="3714207"/>
            <a:ext cx="408341" cy="467909"/>
            <a:chOff x="7891893" y="1185046"/>
            <a:chExt cx="517067" cy="599797"/>
          </a:xfrm>
        </p:grpSpPr>
        <p:grpSp>
          <p:nvGrpSpPr>
            <p:cNvPr id="213" name="Group 212"/>
            <p:cNvGrpSpPr/>
            <p:nvPr/>
          </p:nvGrpSpPr>
          <p:grpSpPr>
            <a:xfrm>
              <a:off x="7891893" y="1185046"/>
              <a:ext cx="517067" cy="599797"/>
              <a:chOff x="6708741" y="967041"/>
              <a:chExt cx="1144680" cy="1327828"/>
            </a:xfrm>
          </p:grpSpPr>
          <p:sp>
            <p:nvSpPr>
              <p:cNvPr id="215" name="Hexagon 214"/>
              <p:cNvSpPr/>
              <p:nvPr/>
            </p:nvSpPr>
            <p:spPr>
              <a:xfrm rot="16200000">
                <a:off x="6617167" y="1058615"/>
                <a:ext cx="1327828" cy="1144680"/>
              </a:xfrm>
              <a:prstGeom prst="hexagon">
                <a:avLst/>
              </a:prstGeom>
              <a:solidFill>
                <a:srgbClr val="59BBE6">
                  <a:lumMod val="60000"/>
                  <a:lumOff val="40000"/>
                </a:srgbClr>
              </a:solidFill>
              <a:ln w="12700" cap="flat" cmpd="sng" algn="ctr">
                <a:noFill/>
                <a:prstDash val="solid"/>
                <a:miter lim="800000"/>
              </a:ln>
              <a:effectLst/>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a:ea typeface="+mn-ea"/>
                  <a:cs typeface="+mn-cs"/>
                </a:endParaRPr>
              </a:p>
            </p:txBody>
          </p:sp>
          <p:sp>
            <p:nvSpPr>
              <p:cNvPr id="216" name="Hexagon 215"/>
              <p:cNvSpPr/>
              <p:nvPr/>
            </p:nvSpPr>
            <p:spPr>
              <a:xfrm rot="16200000">
                <a:off x="6730770" y="1156551"/>
                <a:ext cx="1100619" cy="948810"/>
              </a:xfrm>
              <a:prstGeom prst="hexagon">
                <a:avLst/>
              </a:prstGeom>
              <a:gradFill flip="none" rotWithShape="1">
                <a:gsLst>
                  <a:gs pos="0">
                    <a:srgbClr val="EDEDED">
                      <a:lumMod val="90000"/>
                    </a:srgbClr>
                  </a:gs>
                  <a:gs pos="53000">
                    <a:srgbClr val="F1EFF0"/>
                  </a:gs>
                  <a:gs pos="77000">
                    <a:srgbClr val="EFEDEE"/>
                  </a:gs>
                  <a:gs pos="100000">
                    <a:srgbClr val="EFEBEC"/>
                  </a:gs>
                </a:gsLst>
                <a:path path="circle">
                  <a:fillToRect l="100000" b="100000"/>
                </a:path>
                <a:tileRect t="-100000" r="-100000"/>
              </a:gradFill>
              <a:ln w="12700" cap="flat" cmpd="sng" algn="ctr">
                <a:noFill/>
                <a:prstDash val="solid"/>
                <a:miter lim="800000"/>
              </a:ln>
              <a:effectLst>
                <a:outerShdw blurRad="101600" dist="50800" dir="2700000" algn="tl" rotWithShape="0">
                  <a:prstClr val="black">
                    <a:alpha val="40000"/>
                  </a:prstClr>
                </a:outerShdw>
              </a:effectLst>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214" name="TextBox 213"/>
            <p:cNvSpPr txBox="1"/>
            <p:nvPr/>
          </p:nvSpPr>
          <p:spPr>
            <a:xfrm>
              <a:off x="8051052" y="1411829"/>
              <a:ext cx="186114" cy="118359"/>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600" b="0" i="0" u="none" strike="noStrike" kern="0" cap="none" spc="0" normalizeH="0" baseline="0" noProof="0" dirty="0">
                  <a:ln>
                    <a:noFill/>
                  </a:ln>
                  <a:solidFill>
                    <a:srgbClr val="000000"/>
                  </a:solidFill>
                  <a:effectLst/>
                  <a:uLnTx/>
                  <a:uFillTx/>
                </a:rPr>
                <a:t>K2</a:t>
              </a:r>
              <a:endParaRPr kumimoji="0" lang="en-GB" sz="1400" b="0" i="0" u="none" strike="noStrike" kern="0" cap="none" spc="0" normalizeH="0" baseline="0" noProof="0" dirty="0" err="1">
                <a:ln>
                  <a:noFill/>
                </a:ln>
                <a:solidFill>
                  <a:srgbClr val="000000"/>
                </a:solidFill>
                <a:effectLst/>
                <a:uLnTx/>
                <a:uFillTx/>
              </a:endParaRPr>
            </a:p>
          </p:txBody>
        </p:sp>
      </p:grpSp>
      <p:grpSp>
        <p:nvGrpSpPr>
          <p:cNvPr id="217" name="Group 216"/>
          <p:cNvGrpSpPr/>
          <p:nvPr/>
        </p:nvGrpSpPr>
        <p:grpSpPr>
          <a:xfrm>
            <a:off x="7316590" y="4182116"/>
            <a:ext cx="408341" cy="467909"/>
            <a:chOff x="7891893" y="1185046"/>
            <a:chExt cx="517067" cy="599797"/>
          </a:xfrm>
        </p:grpSpPr>
        <p:grpSp>
          <p:nvGrpSpPr>
            <p:cNvPr id="218" name="Group 217"/>
            <p:cNvGrpSpPr/>
            <p:nvPr/>
          </p:nvGrpSpPr>
          <p:grpSpPr>
            <a:xfrm>
              <a:off x="7891893" y="1185046"/>
              <a:ext cx="517067" cy="599797"/>
              <a:chOff x="6708741" y="967041"/>
              <a:chExt cx="1144680" cy="1327828"/>
            </a:xfrm>
          </p:grpSpPr>
          <p:sp>
            <p:nvSpPr>
              <p:cNvPr id="220" name="Hexagon 219"/>
              <p:cNvSpPr/>
              <p:nvPr/>
            </p:nvSpPr>
            <p:spPr>
              <a:xfrm rot="16200000">
                <a:off x="6617167" y="1058615"/>
                <a:ext cx="1327828" cy="1144680"/>
              </a:xfrm>
              <a:prstGeom prst="hexagon">
                <a:avLst/>
              </a:prstGeom>
              <a:solidFill>
                <a:srgbClr val="59BBE6">
                  <a:lumMod val="60000"/>
                  <a:lumOff val="40000"/>
                </a:srgbClr>
              </a:solidFill>
              <a:ln w="12700" cap="flat" cmpd="sng" algn="ctr">
                <a:noFill/>
                <a:prstDash val="solid"/>
                <a:miter lim="800000"/>
              </a:ln>
              <a:effectLst/>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a:ea typeface="+mn-ea"/>
                  <a:cs typeface="+mn-cs"/>
                </a:endParaRPr>
              </a:p>
            </p:txBody>
          </p:sp>
          <p:sp>
            <p:nvSpPr>
              <p:cNvPr id="221" name="Hexagon 220"/>
              <p:cNvSpPr/>
              <p:nvPr/>
            </p:nvSpPr>
            <p:spPr>
              <a:xfrm rot="16200000">
                <a:off x="6730770" y="1156551"/>
                <a:ext cx="1100619" cy="948810"/>
              </a:xfrm>
              <a:prstGeom prst="hexagon">
                <a:avLst/>
              </a:prstGeom>
              <a:gradFill flip="none" rotWithShape="1">
                <a:gsLst>
                  <a:gs pos="0">
                    <a:srgbClr val="EDEDED">
                      <a:lumMod val="90000"/>
                    </a:srgbClr>
                  </a:gs>
                  <a:gs pos="53000">
                    <a:srgbClr val="F1EFF0"/>
                  </a:gs>
                  <a:gs pos="77000">
                    <a:srgbClr val="EFEDEE"/>
                  </a:gs>
                  <a:gs pos="100000">
                    <a:srgbClr val="EFEBEC"/>
                  </a:gs>
                </a:gsLst>
                <a:path path="circle">
                  <a:fillToRect l="100000" b="100000"/>
                </a:path>
                <a:tileRect t="-100000" r="-100000"/>
              </a:gradFill>
              <a:ln w="12700" cap="flat" cmpd="sng" algn="ctr">
                <a:noFill/>
                <a:prstDash val="solid"/>
                <a:miter lim="800000"/>
              </a:ln>
              <a:effectLst>
                <a:outerShdw blurRad="101600" dist="50800" dir="2700000" algn="tl" rotWithShape="0">
                  <a:prstClr val="black">
                    <a:alpha val="40000"/>
                  </a:prstClr>
                </a:outerShdw>
              </a:effectLst>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219" name="TextBox 218"/>
            <p:cNvSpPr txBox="1"/>
            <p:nvPr/>
          </p:nvSpPr>
          <p:spPr>
            <a:xfrm>
              <a:off x="8051052" y="1411829"/>
              <a:ext cx="186114" cy="118359"/>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600" b="0" i="0" u="none" strike="noStrike" kern="0" cap="none" spc="0" normalizeH="0" baseline="0" noProof="0" dirty="0">
                  <a:ln>
                    <a:noFill/>
                  </a:ln>
                  <a:solidFill>
                    <a:srgbClr val="000000"/>
                  </a:solidFill>
                  <a:effectLst/>
                  <a:uLnTx/>
                  <a:uFillTx/>
                </a:rPr>
                <a:t>V7</a:t>
              </a:r>
              <a:endParaRPr kumimoji="0" lang="en-GB" sz="1400" b="0" i="0" u="none" strike="noStrike" kern="0" cap="none" spc="0" normalizeH="0" baseline="0" noProof="0" dirty="0" err="1">
                <a:ln>
                  <a:noFill/>
                </a:ln>
                <a:solidFill>
                  <a:srgbClr val="000000"/>
                </a:solidFill>
                <a:effectLst/>
                <a:uLnTx/>
                <a:uFillTx/>
              </a:endParaRPr>
            </a:p>
          </p:txBody>
        </p:sp>
      </p:grpSp>
      <p:grpSp>
        <p:nvGrpSpPr>
          <p:cNvPr id="222" name="Group 221"/>
          <p:cNvGrpSpPr/>
          <p:nvPr/>
        </p:nvGrpSpPr>
        <p:grpSpPr>
          <a:xfrm>
            <a:off x="6394299" y="3246298"/>
            <a:ext cx="408341" cy="467909"/>
            <a:chOff x="7891893" y="1185046"/>
            <a:chExt cx="517067" cy="599797"/>
          </a:xfrm>
        </p:grpSpPr>
        <p:grpSp>
          <p:nvGrpSpPr>
            <p:cNvPr id="223" name="Group 222"/>
            <p:cNvGrpSpPr/>
            <p:nvPr/>
          </p:nvGrpSpPr>
          <p:grpSpPr>
            <a:xfrm>
              <a:off x="7891893" y="1185046"/>
              <a:ext cx="517067" cy="599797"/>
              <a:chOff x="6708741" y="967041"/>
              <a:chExt cx="1144680" cy="1327828"/>
            </a:xfrm>
          </p:grpSpPr>
          <p:sp>
            <p:nvSpPr>
              <p:cNvPr id="225" name="Hexagon 224"/>
              <p:cNvSpPr/>
              <p:nvPr/>
            </p:nvSpPr>
            <p:spPr>
              <a:xfrm rot="16200000">
                <a:off x="6617167" y="1058615"/>
                <a:ext cx="1327828" cy="1144680"/>
              </a:xfrm>
              <a:prstGeom prst="hexagon">
                <a:avLst/>
              </a:prstGeom>
              <a:solidFill>
                <a:srgbClr val="59BBE6">
                  <a:lumMod val="60000"/>
                  <a:lumOff val="40000"/>
                </a:srgbClr>
              </a:solidFill>
              <a:ln w="12700" cap="flat" cmpd="sng" algn="ctr">
                <a:noFill/>
                <a:prstDash val="solid"/>
                <a:miter lim="800000"/>
              </a:ln>
              <a:effectLst/>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a:ea typeface="+mn-ea"/>
                  <a:cs typeface="+mn-cs"/>
                </a:endParaRPr>
              </a:p>
            </p:txBody>
          </p:sp>
          <p:sp>
            <p:nvSpPr>
              <p:cNvPr id="226" name="Hexagon 225"/>
              <p:cNvSpPr/>
              <p:nvPr/>
            </p:nvSpPr>
            <p:spPr>
              <a:xfrm rot="16200000">
                <a:off x="6730770" y="1156551"/>
                <a:ext cx="1100619" cy="948810"/>
              </a:xfrm>
              <a:prstGeom prst="hexagon">
                <a:avLst/>
              </a:prstGeom>
              <a:gradFill flip="none" rotWithShape="1">
                <a:gsLst>
                  <a:gs pos="0">
                    <a:srgbClr val="EDEDED">
                      <a:lumMod val="90000"/>
                    </a:srgbClr>
                  </a:gs>
                  <a:gs pos="53000">
                    <a:srgbClr val="F1EFF0"/>
                  </a:gs>
                  <a:gs pos="77000">
                    <a:srgbClr val="EFEDEE"/>
                  </a:gs>
                  <a:gs pos="100000">
                    <a:srgbClr val="EFEBEC"/>
                  </a:gs>
                </a:gsLst>
                <a:path path="circle">
                  <a:fillToRect l="100000" b="100000"/>
                </a:path>
                <a:tileRect t="-100000" r="-100000"/>
              </a:gradFill>
              <a:ln w="12700" cap="flat" cmpd="sng" algn="ctr">
                <a:noFill/>
                <a:prstDash val="solid"/>
                <a:miter lim="800000"/>
              </a:ln>
              <a:effectLst>
                <a:outerShdw blurRad="101600" dist="50800" dir="2700000" algn="tl" rotWithShape="0">
                  <a:prstClr val="black">
                    <a:alpha val="40000"/>
                  </a:prstClr>
                </a:outerShdw>
              </a:effectLst>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224" name="TextBox 223"/>
            <p:cNvSpPr txBox="1"/>
            <p:nvPr/>
          </p:nvSpPr>
          <p:spPr>
            <a:xfrm>
              <a:off x="8116025" y="1411829"/>
              <a:ext cx="57892" cy="177537"/>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900" b="0" i="0" u="none" strike="noStrike" kern="0" cap="none" spc="0" normalizeH="0" baseline="0" noProof="0" dirty="0">
                  <a:ln>
                    <a:noFill/>
                  </a:ln>
                  <a:solidFill>
                    <a:srgbClr val="000000"/>
                  </a:solidFill>
                  <a:effectLst/>
                  <a:uLnTx/>
                  <a:uFillTx/>
                </a:rPr>
                <a:t>3</a:t>
              </a:r>
              <a:endParaRPr kumimoji="0" lang="en-GB" sz="2000" b="0" i="0" u="none" strike="noStrike" kern="0" cap="none" spc="0" normalizeH="0" baseline="0" noProof="0" dirty="0" err="1">
                <a:ln>
                  <a:noFill/>
                </a:ln>
                <a:solidFill>
                  <a:srgbClr val="000000"/>
                </a:solidFill>
                <a:effectLst/>
                <a:uLnTx/>
                <a:uFillTx/>
              </a:endParaRPr>
            </a:p>
          </p:txBody>
        </p:sp>
      </p:grpSp>
      <p:grpSp>
        <p:nvGrpSpPr>
          <p:cNvPr id="227" name="Group 226"/>
          <p:cNvGrpSpPr/>
          <p:nvPr/>
        </p:nvGrpSpPr>
        <p:grpSpPr>
          <a:xfrm>
            <a:off x="6402225" y="3714207"/>
            <a:ext cx="408341" cy="467909"/>
            <a:chOff x="7891893" y="1185046"/>
            <a:chExt cx="517067" cy="599797"/>
          </a:xfrm>
        </p:grpSpPr>
        <p:grpSp>
          <p:nvGrpSpPr>
            <p:cNvPr id="228" name="Group 227"/>
            <p:cNvGrpSpPr/>
            <p:nvPr/>
          </p:nvGrpSpPr>
          <p:grpSpPr>
            <a:xfrm>
              <a:off x="7891893" y="1185046"/>
              <a:ext cx="517067" cy="599797"/>
              <a:chOff x="6708741" y="967041"/>
              <a:chExt cx="1144680" cy="1327828"/>
            </a:xfrm>
          </p:grpSpPr>
          <p:sp>
            <p:nvSpPr>
              <p:cNvPr id="230" name="Hexagon 229"/>
              <p:cNvSpPr/>
              <p:nvPr/>
            </p:nvSpPr>
            <p:spPr>
              <a:xfrm rot="16200000">
                <a:off x="6617167" y="1058615"/>
                <a:ext cx="1327828" cy="1144680"/>
              </a:xfrm>
              <a:prstGeom prst="hexagon">
                <a:avLst/>
              </a:prstGeom>
              <a:solidFill>
                <a:srgbClr val="59BBE6">
                  <a:lumMod val="60000"/>
                  <a:lumOff val="40000"/>
                </a:srgbClr>
              </a:solidFill>
              <a:ln w="12700" cap="flat" cmpd="sng" algn="ctr">
                <a:noFill/>
                <a:prstDash val="solid"/>
                <a:miter lim="800000"/>
              </a:ln>
              <a:effectLst/>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a:ea typeface="+mn-ea"/>
                  <a:cs typeface="+mn-cs"/>
                </a:endParaRPr>
              </a:p>
            </p:txBody>
          </p:sp>
          <p:sp>
            <p:nvSpPr>
              <p:cNvPr id="231" name="Hexagon 230"/>
              <p:cNvSpPr/>
              <p:nvPr/>
            </p:nvSpPr>
            <p:spPr>
              <a:xfrm rot="16200000">
                <a:off x="6730770" y="1156551"/>
                <a:ext cx="1100619" cy="948810"/>
              </a:xfrm>
              <a:prstGeom prst="hexagon">
                <a:avLst/>
              </a:prstGeom>
              <a:gradFill flip="none" rotWithShape="1">
                <a:gsLst>
                  <a:gs pos="0">
                    <a:srgbClr val="EDEDED">
                      <a:lumMod val="90000"/>
                    </a:srgbClr>
                  </a:gs>
                  <a:gs pos="53000">
                    <a:srgbClr val="F1EFF0"/>
                  </a:gs>
                  <a:gs pos="77000">
                    <a:srgbClr val="EFEDEE"/>
                  </a:gs>
                  <a:gs pos="100000">
                    <a:srgbClr val="EFEBEC"/>
                  </a:gs>
                </a:gsLst>
                <a:path path="circle">
                  <a:fillToRect l="100000" b="100000"/>
                </a:path>
                <a:tileRect t="-100000" r="-100000"/>
              </a:gradFill>
              <a:ln w="12700" cap="flat" cmpd="sng" algn="ctr">
                <a:noFill/>
                <a:prstDash val="solid"/>
                <a:miter lim="800000"/>
              </a:ln>
              <a:effectLst>
                <a:outerShdw blurRad="101600" dist="50800" dir="2700000" algn="tl" rotWithShape="0">
                  <a:prstClr val="black">
                    <a:alpha val="40000"/>
                  </a:prstClr>
                </a:outerShdw>
              </a:effectLst>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229" name="TextBox 228"/>
            <p:cNvSpPr txBox="1"/>
            <p:nvPr/>
          </p:nvSpPr>
          <p:spPr>
            <a:xfrm>
              <a:off x="8051052" y="1411829"/>
              <a:ext cx="186114" cy="118359"/>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600" b="0" i="0" u="none" strike="noStrike" kern="0" cap="none" spc="0" normalizeH="0" baseline="0" noProof="0" dirty="0">
                  <a:ln>
                    <a:noFill/>
                  </a:ln>
                  <a:solidFill>
                    <a:srgbClr val="000000"/>
                  </a:solidFill>
                  <a:effectLst/>
                  <a:uLnTx/>
                  <a:uFillTx/>
                </a:rPr>
                <a:t>K3</a:t>
              </a:r>
              <a:endParaRPr kumimoji="0" lang="en-GB" sz="1400" b="0" i="0" u="none" strike="noStrike" kern="0" cap="none" spc="0" normalizeH="0" baseline="0" noProof="0" dirty="0" err="1">
                <a:ln>
                  <a:noFill/>
                </a:ln>
                <a:solidFill>
                  <a:srgbClr val="000000"/>
                </a:solidFill>
                <a:effectLst/>
                <a:uLnTx/>
                <a:uFillTx/>
              </a:endParaRPr>
            </a:p>
          </p:txBody>
        </p:sp>
      </p:grpSp>
      <p:grpSp>
        <p:nvGrpSpPr>
          <p:cNvPr id="232" name="Group 231"/>
          <p:cNvGrpSpPr/>
          <p:nvPr/>
        </p:nvGrpSpPr>
        <p:grpSpPr>
          <a:xfrm>
            <a:off x="6415703" y="4182116"/>
            <a:ext cx="408341" cy="467909"/>
            <a:chOff x="7891893" y="1185046"/>
            <a:chExt cx="517067" cy="599797"/>
          </a:xfrm>
        </p:grpSpPr>
        <p:grpSp>
          <p:nvGrpSpPr>
            <p:cNvPr id="233" name="Group 232"/>
            <p:cNvGrpSpPr/>
            <p:nvPr/>
          </p:nvGrpSpPr>
          <p:grpSpPr>
            <a:xfrm>
              <a:off x="7891893" y="1185046"/>
              <a:ext cx="517067" cy="599797"/>
              <a:chOff x="6708741" y="967041"/>
              <a:chExt cx="1144680" cy="1327828"/>
            </a:xfrm>
          </p:grpSpPr>
          <p:sp>
            <p:nvSpPr>
              <p:cNvPr id="235" name="Hexagon 234"/>
              <p:cNvSpPr/>
              <p:nvPr/>
            </p:nvSpPr>
            <p:spPr>
              <a:xfrm rot="16200000">
                <a:off x="6617167" y="1058615"/>
                <a:ext cx="1327828" cy="1144680"/>
              </a:xfrm>
              <a:prstGeom prst="hexagon">
                <a:avLst/>
              </a:prstGeom>
              <a:solidFill>
                <a:srgbClr val="59BBE6">
                  <a:lumMod val="60000"/>
                  <a:lumOff val="40000"/>
                </a:srgbClr>
              </a:solidFill>
              <a:ln w="12700" cap="flat" cmpd="sng" algn="ctr">
                <a:noFill/>
                <a:prstDash val="solid"/>
                <a:miter lim="800000"/>
              </a:ln>
              <a:effectLst/>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a:ea typeface="+mn-ea"/>
                  <a:cs typeface="+mn-cs"/>
                </a:endParaRPr>
              </a:p>
            </p:txBody>
          </p:sp>
          <p:sp>
            <p:nvSpPr>
              <p:cNvPr id="236" name="Hexagon 235"/>
              <p:cNvSpPr/>
              <p:nvPr/>
            </p:nvSpPr>
            <p:spPr>
              <a:xfrm rot="16200000">
                <a:off x="6730770" y="1156551"/>
                <a:ext cx="1100619" cy="948810"/>
              </a:xfrm>
              <a:prstGeom prst="hexagon">
                <a:avLst/>
              </a:prstGeom>
              <a:gradFill flip="none" rotWithShape="1">
                <a:gsLst>
                  <a:gs pos="0">
                    <a:srgbClr val="EDEDED">
                      <a:lumMod val="90000"/>
                    </a:srgbClr>
                  </a:gs>
                  <a:gs pos="53000">
                    <a:srgbClr val="F1EFF0"/>
                  </a:gs>
                  <a:gs pos="77000">
                    <a:srgbClr val="EFEDEE"/>
                  </a:gs>
                  <a:gs pos="100000">
                    <a:srgbClr val="EFEBEC"/>
                  </a:gs>
                </a:gsLst>
                <a:path path="circle">
                  <a:fillToRect l="100000" b="100000"/>
                </a:path>
                <a:tileRect t="-100000" r="-100000"/>
              </a:gradFill>
              <a:ln w="12700" cap="flat" cmpd="sng" algn="ctr">
                <a:noFill/>
                <a:prstDash val="solid"/>
                <a:miter lim="800000"/>
              </a:ln>
              <a:effectLst>
                <a:outerShdw blurRad="101600" dist="50800" dir="2700000" algn="tl" rotWithShape="0">
                  <a:prstClr val="black">
                    <a:alpha val="40000"/>
                  </a:prstClr>
                </a:outerShdw>
              </a:effectLst>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234" name="TextBox 233"/>
            <p:cNvSpPr txBox="1"/>
            <p:nvPr/>
          </p:nvSpPr>
          <p:spPr>
            <a:xfrm>
              <a:off x="8051052" y="1411829"/>
              <a:ext cx="186114" cy="118359"/>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600" b="0" i="0" u="none" strike="noStrike" kern="0" cap="none" spc="0" normalizeH="0" baseline="0" noProof="0" dirty="0">
                  <a:ln>
                    <a:noFill/>
                  </a:ln>
                  <a:solidFill>
                    <a:srgbClr val="000000"/>
                  </a:solidFill>
                  <a:effectLst/>
                  <a:uLnTx/>
                  <a:uFillTx/>
                </a:rPr>
                <a:t>V4</a:t>
              </a:r>
              <a:endParaRPr kumimoji="0" lang="en-GB" sz="1400" b="0" i="0" u="none" strike="noStrike" kern="0" cap="none" spc="0" normalizeH="0" baseline="0" noProof="0" dirty="0" err="1">
                <a:ln>
                  <a:noFill/>
                </a:ln>
                <a:solidFill>
                  <a:srgbClr val="000000"/>
                </a:solidFill>
                <a:effectLst/>
                <a:uLnTx/>
                <a:uFillTx/>
              </a:endParaRPr>
            </a:p>
          </p:txBody>
        </p:sp>
      </p:grpSp>
      <p:pic>
        <p:nvPicPr>
          <p:cNvPr id="187" name="Picture 2" descr="EDEM Escuela de Empresarios, Fundación de la Comunidad Valenciana -  Asociación Valenciana de Fundaciones de la CV">
            <a:extLst>
              <a:ext uri="{FF2B5EF4-FFF2-40B4-BE49-F238E27FC236}">
                <a16:creationId xmlns:a16="http://schemas.microsoft.com/office/drawing/2014/main" id="{B3C90BA0-5E78-4890-9CDB-F51E567A57E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51580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ducers</a:t>
            </a:r>
          </a:p>
        </p:txBody>
      </p:sp>
      <p:sp>
        <p:nvSpPr>
          <p:cNvPr id="3" name="Date Placeholder 2"/>
          <p:cNvSpPr>
            <a:spLocks noGrp="1"/>
          </p:cNvSpPr>
          <p:nvPr>
            <p:ph type="dt" sz="half" idx="2"/>
          </p:nvPr>
        </p:nvSpPr>
        <p:spPr/>
        <p:txBody>
          <a:bodyPr/>
          <a:lstStyle/>
          <a:p>
            <a:pPr defTabSz="685800"/>
            <a:fld id="{C0C9140A-8AD1-4D8E-9F46-B47E3C53E85F}" type="datetime1">
              <a:rPr lang="en-GB" smtClean="0"/>
              <a:t>02/12/2021</a:t>
            </a:fld>
            <a:endParaRPr lang="en-GB" dirty="0"/>
          </a:p>
        </p:txBody>
      </p:sp>
      <p:sp>
        <p:nvSpPr>
          <p:cNvPr id="5" name="Text Placeholder 4"/>
          <p:cNvSpPr>
            <a:spLocks noGrp="1"/>
          </p:cNvSpPr>
          <p:nvPr>
            <p:ph type="body" sz="quarter" idx="12"/>
          </p:nvPr>
        </p:nvSpPr>
        <p:spPr/>
        <p:txBody>
          <a:bodyPr/>
          <a:lstStyle/>
          <a:p>
            <a:endParaRPr lang="en-US"/>
          </a:p>
        </p:txBody>
      </p:sp>
      <p:sp>
        <p:nvSpPr>
          <p:cNvPr id="6" name="Footer Placeholder 5"/>
          <p:cNvSpPr>
            <a:spLocks noGrp="1"/>
          </p:cNvSpPr>
          <p:nvPr>
            <p:ph type="ftr" sz="quarter" idx="13"/>
          </p:nvPr>
        </p:nvSpPr>
        <p:spPr/>
        <p:txBody>
          <a:bodyPr/>
          <a:lstStyle/>
          <a:p>
            <a:r>
              <a:rPr lang="en-US"/>
              <a:t>Type here if  add info needed  for every slide</a:t>
            </a:r>
            <a:endParaRPr lang="en-US" dirty="0"/>
          </a:p>
        </p:txBody>
      </p:sp>
      <p:cxnSp>
        <p:nvCxnSpPr>
          <p:cNvPr id="8" name="Straight Arrow Connector 7"/>
          <p:cNvCxnSpPr/>
          <p:nvPr/>
        </p:nvCxnSpPr>
        <p:spPr bwMode="gray">
          <a:xfrm>
            <a:off x="6291943" y="4229992"/>
            <a:ext cx="1060390" cy="3145"/>
          </a:xfrm>
          <a:prstGeom prst="straightConnector1">
            <a:avLst/>
          </a:prstGeom>
          <a:ln w="19050">
            <a:solidFill>
              <a:schemeClr val="accent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5470095" y="3688669"/>
            <a:ext cx="748100" cy="859881"/>
            <a:chOff x="7891893" y="1185046"/>
            <a:chExt cx="517067" cy="599797"/>
          </a:xfrm>
        </p:grpSpPr>
        <p:grpSp>
          <p:nvGrpSpPr>
            <p:cNvPr id="10" name="Group 9"/>
            <p:cNvGrpSpPr/>
            <p:nvPr/>
          </p:nvGrpSpPr>
          <p:grpSpPr>
            <a:xfrm>
              <a:off x="7891893" y="1185046"/>
              <a:ext cx="517067" cy="599797"/>
              <a:chOff x="6708741" y="967041"/>
              <a:chExt cx="1144680" cy="1327828"/>
            </a:xfrm>
          </p:grpSpPr>
          <p:sp>
            <p:nvSpPr>
              <p:cNvPr id="12" name="Hexagon 11"/>
              <p:cNvSpPr/>
              <p:nvPr/>
            </p:nvSpPr>
            <p:spPr>
              <a:xfrm rot="16200000">
                <a:off x="6617167" y="1058615"/>
                <a:ext cx="1327828" cy="1144680"/>
              </a:xfrm>
              <a:prstGeom prst="hexagon">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 name="Hexagon 12"/>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grpSp>
        <p:sp>
          <p:nvSpPr>
            <p:cNvPr id="11" name="TextBox 10"/>
            <p:cNvSpPr txBox="1"/>
            <p:nvPr/>
          </p:nvSpPr>
          <p:spPr>
            <a:xfrm>
              <a:off x="7971691" y="1438777"/>
              <a:ext cx="323522" cy="96608"/>
            </a:xfrm>
            <a:prstGeom prst="rect">
              <a:avLst/>
            </a:prstGeom>
            <a:noFill/>
          </p:spPr>
          <p:txBody>
            <a:bodyPr wrap="none" lIns="0" tIns="0" rIns="0" bIns="0" rtlCol="0">
              <a:spAutoFit/>
            </a:bodyPr>
            <a:lstStyle/>
            <a:p>
              <a:r>
                <a:rPr lang="es-ES" sz="900" dirty="0"/>
                <a:t>Producer</a:t>
              </a:r>
              <a:endParaRPr lang="en-GB" sz="2000" dirty="0" err="1"/>
            </a:p>
          </p:txBody>
        </p:sp>
      </p:grpSp>
      <p:sp>
        <p:nvSpPr>
          <p:cNvPr id="14" name="Rectangle 13"/>
          <p:cNvSpPr/>
          <p:nvPr/>
        </p:nvSpPr>
        <p:spPr>
          <a:xfrm>
            <a:off x="6469114" y="4069203"/>
            <a:ext cx="660557" cy="109056"/>
          </a:xfrm>
          <a:prstGeom prst="rect">
            <a:avLst/>
          </a:prstGeom>
          <a:noFill/>
          <a:ln w="1270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sp>
        <p:nvSpPr>
          <p:cNvPr id="15" name="Rectangle 14"/>
          <p:cNvSpPr/>
          <p:nvPr/>
        </p:nvSpPr>
        <p:spPr>
          <a:xfrm>
            <a:off x="6627256" y="4069203"/>
            <a:ext cx="171819" cy="109056"/>
          </a:xfrm>
          <a:prstGeom prst="rect">
            <a:avLst/>
          </a:prstGeom>
          <a:noFill/>
          <a:ln w="1270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sp>
        <p:nvSpPr>
          <p:cNvPr id="16" name="Rectangle 15"/>
          <p:cNvSpPr/>
          <p:nvPr/>
        </p:nvSpPr>
        <p:spPr>
          <a:xfrm>
            <a:off x="6799151" y="4069203"/>
            <a:ext cx="171819" cy="109056"/>
          </a:xfrm>
          <a:prstGeom prst="rect">
            <a:avLst/>
          </a:prstGeom>
          <a:noFill/>
          <a:ln w="1270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sp>
        <p:nvSpPr>
          <p:cNvPr id="17" name="TextBox 16"/>
          <p:cNvSpPr txBox="1"/>
          <p:nvPr/>
        </p:nvSpPr>
        <p:spPr>
          <a:xfrm>
            <a:off x="6627256" y="3934559"/>
            <a:ext cx="357470" cy="123111"/>
          </a:xfrm>
          <a:prstGeom prst="rect">
            <a:avLst/>
          </a:prstGeom>
          <a:noFill/>
        </p:spPr>
        <p:txBody>
          <a:bodyPr wrap="none" lIns="0" tIns="0" rIns="0" bIns="0" rtlCol="0">
            <a:spAutoFit/>
          </a:bodyPr>
          <a:lstStyle/>
          <a:p>
            <a:r>
              <a:rPr lang="es-ES" sz="800" b="1" dirty="0">
                <a:solidFill>
                  <a:schemeClr val="accent2"/>
                </a:solidFill>
              </a:rPr>
              <a:t>BATCH</a:t>
            </a:r>
            <a:endParaRPr lang="en-GB" sz="800" b="1" dirty="0" err="1">
              <a:solidFill>
                <a:schemeClr val="accent2"/>
              </a:solidFill>
            </a:endParaRPr>
          </a:p>
        </p:txBody>
      </p:sp>
      <p:cxnSp>
        <p:nvCxnSpPr>
          <p:cNvPr id="18" name="Straight Arrow Connector 17"/>
          <p:cNvCxnSpPr/>
          <p:nvPr/>
        </p:nvCxnSpPr>
        <p:spPr bwMode="gray">
          <a:xfrm flipH="1">
            <a:off x="6249246" y="3831394"/>
            <a:ext cx="1068167" cy="0"/>
          </a:xfrm>
          <a:prstGeom prst="straightConnector1">
            <a:avLst/>
          </a:prstGeom>
          <a:ln w="19050">
            <a:solidFill>
              <a:schemeClr val="accent3">
                <a:lumMod val="40000"/>
                <a:lumOff val="6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6429582" y="3629715"/>
            <a:ext cx="738985" cy="153888"/>
          </a:xfrm>
          <a:prstGeom prst="rect">
            <a:avLst/>
          </a:prstGeom>
          <a:noFill/>
        </p:spPr>
        <p:txBody>
          <a:bodyPr wrap="none" lIns="0" tIns="0" rIns="0" bIns="0" rtlCol="0">
            <a:spAutoFit/>
          </a:bodyPr>
          <a:lstStyle/>
          <a:p>
            <a:r>
              <a:rPr lang="es-ES" sz="500" b="1" dirty="0">
                <a:solidFill>
                  <a:schemeClr val="accent2"/>
                </a:solidFill>
              </a:rPr>
              <a:t> </a:t>
            </a:r>
            <a:r>
              <a:rPr lang="es-ES" sz="1000" b="1" dirty="0">
                <a:solidFill>
                  <a:schemeClr val="accent2"/>
                </a:solidFill>
              </a:rPr>
              <a:t>METADATA</a:t>
            </a:r>
            <a:endParaRPr lang="en-GB" sz="500" b="1" dirty="0" err="1">
              <a:solidFill>
                <a:schemeClr val="accent2"/>
              </a:solidFill>
            </a:endParaRPr>
          </a:p>
        </p:txBody>
      </p:sp>
      <p:sp>
        <p:nvSpPr>
          <p:cNvPr id="20" name="Rectangle 19"/>
          <p:cNvSpPr/>
          <p:nvPr/>
        </p:nvSpPr>
        <p:spPr>
          <a:xfrm>
            <a:off x="667586" y="1107271"/>
            <a:ext cx="7544308" cy="3370153"/>
          </a:xfrm>
          <a:prstGeom prst="rect">
            <a:avLst/>
          </a:prstGeom>
        </p:spPr>
        <p:txBody>
          <a:bodyPr wrap="square">
            <a:spAutoFit/>
          </a:bodyPr>
          <a:lstStyle/>
          <a:p>
            <a:pPr marL="171450" indent="-171450">
              <a:buFont typeface="Arial" panose="020B0604020202020204" pitchFamily="34" charset="0"/>
              <a:buChar char="•"/>
            </a:pPr>
            <a:r>
              <a:rPr lang="en-US" sz="1400" dirty="0"/>
              <a:t>A </a:t>
            </a:r>
            <a:r>
              <a:rPr lang="en-US" sz="1400" b="1" dirty="0"/>
              <a:t>Kafka </a:t>
            </a:r>
            <a:r>
              <a:rPr lang="en-US" sz="1400" b="1" dirty="0">
                <a:solidFill>
                  <a:schemeClr val="accent2"/>
                </a:solidFill>
              </a:rPr>
              <a:t>producer</a:t>
            </a:r>
            <a:r>
              <a:rPr lang="en-US" sz="1400" dirty="0"/>
              <a:t> is an application that can act as a source of data in a </a:t>
            </a:r>
            <a:r>
              <a:rPr lang="en-US" sz="1400" b="1" dirty="0"/>
              <a:t>Kafka</a:t>
            </a:r>
            <a:r>
              <a:rPr lang="en-US" sz="1400" dirty="0"/>
              <a:t> cluster.</a:t>
            </a:r>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r>
              <a:rPr lang="en-US" sz="1400" dirty="0"/>
              <a:t>A </a:t>
            </a:r>
            <a:r>
              <a:rPr lang="en-US" sz="1400" b="1" dirty="0">
                <a:solidFill>
                  <a:schemeClr val="accent2"/>
                </a:solidFill>
              </a:rPr>
              <a:t>producer</a:t>
            </a:r>
            <a:r>
              <a:rPr lang="en-US" sz="1400" dirty="0"/>
              <a:t> can publish messages to one or more </a:t>
            </a:r>
            <a:r>
              <a:rPr lang="en-US" sz="1400" b="1" dirty="0"/>
              <a:t>Kafka</a:t>
            </a:r>
            <a:r>
              <a:rPr lang="en-US" sz="1400" dirty="0"/>
              <a:t> topics</a:t>
            </a:r>
            <a:r>
              <a:rPr lang="en-GB" sz="1400" dirty="0"/>
              <a:t> </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Existing send methods</a:t>
            </a:r>
          </a:p>
          <a:p>
            <a:pPr marL="628650" lvl="1" indent="-171450">
              <a:buFont typeface="Arial" panose="020B0604020202020204" pitchFamily="34" charset="0"/>
              <a:buChar char="•"/>
            </a:pPr>
            <a:r>
              <a:rPr lang="en-GB" sz="1400" b="1" dirty="0">
                <a:solidFill>
                  <a:schemeClr val="accent2"/>
                </a:solidFill>
              </a:rPr>
              <a:t>Fire-and-forget: </a:t>
            </a:r>
            <a:r>
              <a:rPr lang="en-GB" sz="1400" dirty="0"/>
              <a:t>Don’t wait for ACK - very </a:t>
            </a:r>
            <a:r>
              <a:rPr lang="en-GB" sz="1400" dirty="0">
                <a:solidFill>
                  <a:srgbClr val="00B0F0"/>
                </a:solidFill>
              </a:rPr>
              <a:t>high throughput - </a:t>
            </a:r>
            <a:r>
              <a:rPr lang="en-GB" sz="1400" b="1" dirty="0">
                <a:cs typeface="Consolas" panose="020B0609020204030204" pitchFamily="49" charset="0"/>
              </a:rPr>
              <a:t>acks=0</a:t>
            </a:r>
            <a:endParaRPr lang="en-GB" sz="1400" dirty="0">
              <a:solidFill>
                <a:srgbClr val="00B0F0"/>
              </a:solidFill>
            </a:endParaRPr>
          </a:p>
          <a:p>
            <a:pPr marL="628650" lvl="1" indent="-171450">
              <a:buFont typeface="Arial" panose="020B0604020202020204" pitchFamily="34" charset="0"/>
              <a:buChar char="•"/>
            </a:pPr>
            <a:r>
              <a:rPr lang="en-GB" sz="1400" b="1" dirty="0">
                <a:solidFill>
                  <a:schemeClr val="accent2"/>
                </a:solidFill>
              </a:rPr>
              <a:t>Asynchronous</a:t>
            </a:r>
            <a:r>
              <a:rPr lang="en-GB" sz="1400" dirty="0">
                <a:solidFill>
                  <a:srgbClr val="5082BE"/>
                </a:solidFill>
              </a:rPr>
              <a:t>: </a:t>
            </a:r>
            <a:r>
              <a:rPr lang="es-ES" sz="1400" dirty="0"/>
              <a:t>Wait for the Leader ACK - </a:t>
            </a:r>
            <a:r>
              <a:rPr lang="en-GB" sz="1400" b="1" dirty="0">
                <a:cs typeface="Consolas" panose="020B0609020204030204" pitchFamily="49" charset="0"/>
              </a:rPr>
              <a:t>acks=1</a:t>
            </a:r>
            <a:endParaRPr lang="es-ES" sz="1400" dirty="0"/>
          </a:p>
          <a:p>
            <a:pPr marL="628650" lvl="1" indent="-171450">
              <a:buFont typeface="Arial" panose="020B0604020202020204" pitchFamily="34" charset="0"/>
              <a:buChar char="•"/>
            </a:pPr>
            <a:r>
              <a:rPr lang="en-GB" sz="1400" b="1" dirty="0">
                <a:solidFill>
                  <a:schemeClr val="accent2"/>
                </a:solidFill>
              </a:rPr>
              <a:t>Synchronous </a:t>
            </a:r>
            <a:r>
              <a:rPr lang="es-ES" sz="1400" dirty="0"/>
              <a:t>Wait for Leader + Replicas ACK – </a:t>
            </a:r>
            <a:r>
              <a:rPr lang="es-ES" sz="1400" dirty="0">
                <a:solidFill>
                  <a:srgbClr val="00B0F0"/>
                </a:solidFill>
              </a:rPr>
              <a:t>Safe - </a:t>
            </a:r>
            <a:r>
              <a:rPr lang="en-GB" sz="1400" b="1" dirty="0">
                <a:cs typeface="Consolas" panose="020B0609020204030204" pitchFamily="49" charset="0"/>
              </a:rPr>
              <a:t>acks=all</a:t>
            </a:r>
          </a:p>
          <a:p>
            <a:pPr marL="628650" lvl="1" indent="-171450">
              <a:buFont typeface="Arial" panose="020B0604020202020204" pitchFamily="34" charset="0"/>
              <a:buChar char="•"/>
            </a:pPr>
            <a:endParaRPr lang="en-GB" sz="1100" b="1" dirty="0">
              <a:solidFill>
                <a:srgbClr val="00B0F0"/>
              </a:solidFill>
            </a:endParaRPr>
          </a:p>
          <a:p>
            <a:pPr marL="171450" indent="-171450">
              <a:buFont typeface="Arial" panose="020B0604020202020204" pitchFamily="34" charset="0"/>
              <a:buChar char="•"/>
            </a:pPr>
            <a:r>
              <a:rPr lang="en-US" sz="1400" dirty="0"/>
              <a:t> Kafka producers attempt to collect sent messages into </a:t>
            </a:r>
            <a:r>
              <a:rPr lang="en-US" sz="1400" b="1" dirty="0">
                <a:solidFill>
                  <a:schemeClr val="accent2"/>
                </a:solidFill>
              </a:rPr>
              <a:t>batches</a:t>
            </a:r>
            <a:r>
              <a:rPr lang="en-US" sz="1400" dirty="0"/>
              <a:t> to improve throughput</a:t>
            </a:r>
            <a:r>
              <a:rPr lang="en-US" dirty="0"/>
              <a:t>.</a:t>
            </a:r>
            <a:endParaRPr lang="en-GB" sz="1400" dirty="0">
              <a:solidFill>
                <a:srgbClr val="00B0F0"/>
              </a:solidFill>
            </a:endParaRPr>
          </a:p>
          <a:p>
            <a:pPr marL="628650" lvl="1" indent="-171450">
              <a:buFont typeface="Arial" panose="020B0604020202020204" pitchFamily="34" charset="0"/>
              <a:buChar char="•"/>
            </a:pPr>
            <a:endParaRPr lang="en-GB" sz="1200" b="1" dirty="0">
              <a:solidFill>
                <a:srgbClr val="00B0F0"/>
              </a:solidFill>
              <a:cs typeface="Consolas" panose="020B0609020204030204" pitchFamily="49" charset="0"/>
            </a:endParaRPr>
          </a:p>
          <a:p>
            <a:pPr marL="285750" indent="-285750">
              <a:buFont typeface="Arial" panose="020B0604020202020204" pitchFamily="34" charset="0"/>
              <a:buChar char="•"/>
            </a:pPr>
            <a:r>
              <a:rPr lang="en-GB" sz="1400" dirty="0"/>
              <a:t>Partition assignment</a:t>
            </a:r>
          </a:p>
          <a:p>
            <a:pPr marL="742950" lvl="1" indent="-285750">
              <a:buFont typeface="Arial" panose="020B0604020202020204" pitchFamily="34" charset="0"/>
              <a:buChar char="•"/>
            </a:pPr>
            <a:r>
              <a:rPr lang="en-GB" sz="1200" dirty="0"/>
              <a:t>Round-robin</a:t>
            </a:r>
          </a:p>
          <a:p>
            <a:pPr marL="742950" lvl="1" indent="-285750">
              <a:buFont typeface="Arial" panose="020B0604020202020204" pitchFamily="34" charset="0"/>
              <a:buChar char="•"/>
            </a:pPr>
            <a:r>
              <a:rPr lang="en-GB" sz="1200" dirty="0"/>
              <a:t>Partition function based on the key</a:t>
            </a:r>
          </a:p>
          <a:p>
            <a:pPr lvl="2"/>
            <a:r>
              <a:rPr lang="en-GB" sz="1000" i="1" dirty="0"/>
              <a:t>e.g</a:t>
            </a:r>
            <a:r>
              <a:rPr lang="en-GB" sz="1000" dirty="0"/>
              <a:t>: all records for an employee-id go to the same partition</a:t>
            </a:r>
            <a:endParaRPr lang="en-US" sz="1000" dirty="0"/>
          </a:p>
          <a:p>
            <a:pPr marL="628650" lvl="1" indent="-171450">
              <a:buFont typeface="Arial" panose="020B0604020202020204" pitchFamily="34" charset="0"/>
              <a:buChar char="•"/>
            </a:pPr>
            <a:endParaRPr lang="en-GB" sz="1200" b="1" dirty="0">
              <a:cs typeface="Consolas" panose="020B0609020204030204" pitchFamily="49" charset="0"/>
            </a:endParaRPr>
          </a:p>
        </p:txBody>
      </p:sp>
      <p:cxnSp>
        <p:nvCxnSpPr>
          <p:cNvPr id="21" name="Straight Arrow Connector 20"/>
          <p:cNvCxnSpPr/>
          <p:nvPr/>
        </p:nvCxnSpPr>
        <p:spPr bwMode="gray">
          <a:xfrm flipH="1">
            <a:off x="6239174" y="4338305"/>
            <a:ext cx="1088313" cy="0"/>
          </a:xfrm>
          <a:prstGeom prst="straightConnector1">
            <a:avLst/>
          </a:prstGeom>
          <a:ln w="19050">
            <a:solidFill>
              <a:schemeClr val="accent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22" name="Picture 2" descr="Resultado de imagen de apache kafka"/>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80632" y="3660934"/>
            <a:ext cx="1366366" cy="683183"/>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EDEM Escuela de Empresarios, Fundación de la Comunidad Valenciana -  Asociación Valenciana de Fundaciones de la CV">
            <a:extLst>
              <a:ext uri="{FF2B5EF4-FFF2-40B4-BE49-F238E27FC236}">
                <a16:creationId xmlns:a16="http://schemas.microsoft.com/office/drawing/2014/main" id="{D96A26BF-1F61-4F49-8298-A0A181366C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8013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umers</a:t>
            </a:r>
          </a:p>
        </p:txBody>
      </p:sp>
      <p:sp>
        <p:nvSpPr>
          <p:cNvPr id="3" name="Date Placeholder 2"/>
          <p:cNvSpPr>
            <a:spLocks noGrp="1"/>
          </p:cNvSpPr>
          <p:nvPr>
            <p:ph type="dt" sz="half" idx="2"/>
          </p:nvPr>
        </p:nvSpPr>
        <p:spPr/>
        <p:txBody>
          <a:bodyPr/>
          <a:lstStyle/>
          <a:p>
            <a:pPr defTabSz="685800"/>
            <a:fld id="{C0C9140A-8AD1-4D8E-9F46-B47E3C53E85F}" type="datetime1">
              <a:rPr lang="en-GB" smtClean="0"/>
              <a:t>02/12/2021</a:t>
            </a:fld>
            <a:endParaRPr lang="en-GB" dirty="0"/>
          </a:p>
        </p:txBody>
      </p:sp>
      <p:sp>
        <p:nvSpPr>
          <p:cNvPr id="5" name="Text Placeholder 4"/>
          <p:cNvSpPr>
            <a:spLocks noGrp="1"/>
          </p:cNvSpPr>
          <p:nvPr>
            <p:ph type="body" sz="quarter" idx="12"/>
          </p:nvPr>
        </p:nvSpPr>
        <p:spPr/>
        <p:txBody>
          <a:bodyPr/>
          <a:lstStyle/>
          <a:p>
            <a:endParaRPr lang="en-US"/>
          </a:p>
        </p:txBody>
      </p:sp>
      <p:sp>
        <p:nvSpPr>
          <p:cNvPr id="6" name="Footer Placeholder 5"/>
          <p:cNvSpPr>
            <a:spLocks noGrp="1"/>
          </p:cNvSpPr>
          <p:nvPr>
            <p:ph type="ftr" sz="quarter" idx="13"/>
          </p:nvPr>
        </p:nvSpPr>
        <p:spPr/>
        <p:txBody>
          <a:bodyPr/>
          <a:lstStyle/>
          <a:p>
            <a:r>
              <a:rPr lang="en-US"/>
              <a:t>Type here if  add info needed  for every slide</a:t>
            </a:r>
            <a:endParaRPr lang="en-US" dirty="0"/>
          </a:p>
        </p:txBody>
      </p:sp>
      <p:grpSp>
        <p:nvGrpSpPr>
          <p:cNvPr id="7" name="Group 6"/>
          <p:cNvGrpSpPr/>
          <p:nvPr/>
        </p:nvGrpSpPr>
        <p:grpSpPr>
          <a:xfrm>
            <a:off x="1731090" y="2474633"/>
            <a:ext cx="415295" cy="443775"/>
            <a:chOff x="4524551" y="3756113"/>
            <a:chExt cx="819227" cy="875407"/>
          </a:xfrm>
        </p:grpSpPr>
        <p:grpSp>
          <p:nvGrpSpPr>
            <p:cNvPr id="8" name="Group 7"/>
            <p:cNvGrpSpPr/>
            <p:nvPr/>
          </p:nvGrpSpPr>
          <p:grpSpPr>
            <a:xfrm>
              <a:off x="4524551" y="3756113"/>
              <a:ext cx="754662" cy="875407"/>
              <a:chOff x="6708741" y="967041"/>
              <a:chExt cx="1144680" cy="1327828"/>
            </a:xfrm>
          </p:grpSpPr>
          <p:sp>
            <p:nvSpPr>
              <p:cNvPr id="10" name="Hexagon 9"/>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 name="Hexagon 10"/>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9" name="TextBox 8"/>
            <p:cNvSpPr txBox="1"/>
            <p:nvPr/>
          </p:nvSpPr>
          <p:spPr>
            <a:xfrm>
              <a:off x="4784306" y="3981998"/>
              <a:ext cx="559472" cy="149248"/>
            </a:xfrm>
            <a:prstGeom prst="rect">
              <a:avLst/>
            </a:prstGeom>
            <a:noFill/>
          </p:spPr>
          <p:txBody>
            <a:bodyPr wrap="square" lIns="0" tIns="0" rIns="0" bIns="0" rtlCol="0">
              <a:spAutoFit/>
            </a:bodyPr>
            <a:lstStyle/>
            <a:p>
              <a:r>
                <a:rPr lang="es-ES" sz="1400" b="1" dirty="0"/>
                <a:t>0</a:t>
              </a:r>
              <a:endParaRPr lang="en-GB" sz="1400" b="1" dirty="0" err="1"/>
            </a:p>
          </p:txBody>
        </p:sp>
      </p:grpSp>
      <p:grpSp>
        <p:nvGrpSpPr>
          <p:cNvPr id="12" name="Group 11"/>
          <p:cNvGrpSpPr/>
          <p:nvPr/>
        </p:nvGrpSpPr>
        <p:grpSpPr>
          <a:xfrm>
            <a:off x="2119347" y="2474633"/>
            <a:ext cx="415295" cy="443775"/>
            <a:chOff x="4524551" y="3756113"/>
            <a:chExt cx="819227" cy="875407"/>
          </a:xfrm>
        </p:grpSpPr>
        <p:grpSp>
          <p:nvGrpSpPr>
            <p:cNvPr id="13" name="Group 12"/>
            <p:cNvGrpSpPr/>
            <p:nvPr/>
          </p:nvGrpSpPr>
          <p:grpSpPr>
            <a:xfrm>
              <a:off x="4524551" y="3756113"/>
              <a:ext cx="754662" cy="875407"/>
              <a:chOff x="6708741" y="967041"/>
              <a:chExt cx="1144680" cy="1327828"/>
            </a:xfrm>
          </p:grpSpPr>
          <p:sp>
            <p:nvSpPr>
              <p:cNvPr id="15" name="Hexagon 14"/>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6" name="Hexagon 15"/>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4" name="TextBox 13"/>
            <p:cNvSpPr txBox="1"/>
            <p:nvPr/>
          </p:nvSpPr>
          <p:spPr>
            <a:xfrm>
              <a:off x="4784306" y="3981998"/>
              <a:ext cx="559472" cy="424993"/>
            </a:xfrm>
            <a:prstGeom prst="rect">
              <a:avLst/>
            </a:prstGeom>
            <a:noFill/>
          </p:spPr>
          <p:txBody>
            <a:bodyPr wrap="square" lIns="0" tIns="0" rIns="0" bIns="0" rtlCol="0">
              <a:spAutoFit/>
            </a:bodyPr>
            <a:lstStyle/>
            <a:p>
              <a:r>
                <a:rPr lang="es-ES" sz="1400" b="1" dirty="0"/>
                <a:t>1</a:t>
              </a:r>
              <a:endParaRPr lang="en-GB" sz="1400" b="1" dirty="0" err="1"/>
            </a:p>
          </p:txBody>
        </p:sp>
      </p:grpSp>
      <p:grpSp>
        <p:nvGrpSpPr>
          <p:cNvPr id="17" name="Group 16"/>
          <p:cNvGrpSpPr/>
          <p:nvPr/>
        </p:nvGrpSpPr>
        <p:grpSpPr>
          <a:xfrm>
            <a:off x="2509000" y="2474633"/>
            <a:ext cx="415295" cy="443775"/>
            <a:chOff x="4524551" y="3756113"/>
            <a:chExt cx="819227" cy="875407"/>
          </a:xfrm>
        </p:grpSpPr>
        <p:grpSp>
          <p:nvGrpSpPr>
            <p:cNvPr id="18" name="Group 17"/>
            <p:cNvGrpSpPr/>
            <p:nvPr/>
          </p:nvGrpSpPr>
          <p:grpSpPr>
            <a:xfrm>
              <a:off x="4524551" y="3756113"/>
              <a:ext cx="754662" cy="875407"/>
              <a:chOff x="6708741" y="967041"/>
              <a:chExt cx="1144680" cy="1327828"/>
            </a:xfrm>
          </p:grpSpPr>
          <p:sp>
            <p:nvSpPr>
              <p:cNvPr id="20" name="Hexagon 19"/>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21" name="Hexagon 20"/>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9" name="TextBox 18"/>
            <p:cNvSpPr txBox="1"/>
            <p:nvPr/>
          </p:nvSpPr>
          <p:spPr>
            <a:xfrm>
              <a:off x="4784306" y="3981998"/>
              <a:ext cx="559472" cy="424993"/>
            </a:xfrm>
            <a:prstGeom prst="rect">
              <a:avLst/>
            </a:prstGeom>
            <a:noFill/>
          </p:spPr>
          <p:txBody>
            <a:bodyPr wrap="square" lIns="0" tIns="0" rIns="0" bIns="0" rtlCol="0">
              <a:spAutoFit/>
            </a:bodyPr>
            <a:lstStyle/>
            <a:p>
              <a:r>
                <a:rPr lang="es-ES" sz="1400" b="1" dirty="0"/>
                <a:t>2</a:t>
              </a:r>
              <a:endParaRPr lang="en-GB" sz="1400" b="1" dirty="0" err="1"/>
            </a:p>
          </p:txBody>
        </p:sp>
      </p:grpSp>
      <p:grpSp>
        <p:nvGrpSpPr>
          <p:cNvPr id="22" name="Group 21"/>
          <p:cNvGrpSpPr/>
          <p:nvPr/>
        </p:nvGrpSpPr>
        <p:grpSpPr>
          <a:xfrm>
            <a:off x="2897257" y="2474633"/>
            <a:ext cx="415295" cy="443775"/>
            <a:chOff x="4524551" y="3756113"/>
            <a:chExt cx="819227" cy="875407"/>
          </a:xfrm>
        </p:grpSpPr>
        <p:grpSp>
          <p:nvGrpSpPr>
            <p:cNvPr id="23" name="Group 22"/>
            <p:cNvGrpSpPr/>
            <p:nvPr/>
          </p:nvGrpSpPr>
          <p:grpSpPr>
            <a:xfrm>
              <a:off x="4524551" y="3756113"/>
              <a:ext cx="754662" cy="875407"/>
              <a:chOff x="6708741" y="967041"/>
              <a:chExt cx="1144680" cy="1327828"/>
            </a:xfrm>
          </p:grpSpPr>
          <p:sp>
            <p:nvSpPr>
              <p:cNvPr id="25" name="Hexagon 24"/>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26" name="Hexagon 25"/>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24" name="TextBox 23"/>
            <p:cNvSpPr txBox="1"/>
            <p:nvPr/>
          </p:nvSpPr>
          <p:spPr>
            <a:xfrm>
              <a:off x="4784306" y="3981998"/>
              <a:ext cx="559472" cy="424993"/>
            </a:xfrm>
            <a:prstGeom prst="rect">
              <a:avLst/>
            </a:prstGeom>
            <a:noFill/>
          </p:spPr>
          <p:txBody>
            <a:bodyPr wrap="square" lIns="0" tIns="0" rIns="0" bIns="0" rtlCol="0">
              <a:spAutoFit/>
            </a:bodyPr>
            <a:lstStyle/>
            <a:p>
              <a:r>
                <a:rPr lang="es-ES" sz="1400" b="1" dirty="0"/>
                <a:t>3</a:t>
              </a:r>
              <a:endParaRPr lang="en-GB" sz="1400" b="1" dirty="0" err="1"/>
            </a:p>
          </p:txBody>
        </p:sp>
      </p:grpSp>
      <p:grpSp>
        <p:nvGrpSpPr>
          <p:cNvPr id="27" name="Group 26"/>
          <p:cNvGrpSpPr/>
          <p:nvPr/>
        </p:nvGrpSpPr>
        <p:grpSpPr>
          <a:xfrm>
            <a:off x="3286910" y="2474632"/>
            <a:ext cx="415295" cy="443775"/>
            <a:chOff x="4524551" y="3756113"/>
            <a:chExt cx="819227" cy="875407"/>
          </a:xfrm>
        </p:grpSpPr>
        <p:grpSp>
          <p:nvGrpSpPr>
            <p:cNvPr id="28" name="Group 27"/>
            <p:cNvGrpSpPr/>
            <p:nvPr/>
          </p:nvGrpSpPr>
          <p:grpSpPr>
            <a:xfrm>
              <a:off x="4524551" y="3756113"/>
              <a:ext cx="754662" cy="875407"/>
              <a:chOff x="6708741" y="967041"/>
              <a:chExt cx="1144680" cy="1327828"/>
            </a:xfrm>
          </p:grpSpPr>
          <p:sp>
            <p:nvSpPr>
              <p:cNvPr id="30" name="Hexagon 29"/>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31" name="Hexagon 30"/>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29" name="TextBox 28"/>
            <p:cNvSpPr txBox="1"/>
            <p:nvPr/>
          </p:nvSpPr>
          <p:spPr>
            <a:xfrm>
              <a:off x="4784306" y="3981998"/>
              <a:ext cx="559472" cy="424993"/>
            </a:xfrm>
            <a:prstGeom prst="rect">
              <a:avLst/>
            </a:prstGeom>
            <a:noFill/>
          </p:spPr>
          <p:txBody>
            <a:bodyPr wrap="square" lIns="0" tIns="0" rIns="0" bIns="0" rtlCol="0">
              <a:spAutoFit/>
            </a:bodyPr>
            <a:lstStyle/>
            <a:p>
              <a:r>
                <a:rPr lang="es-ES" sz="1400" b="1" dirty="0"/>
                <a:t>4</a:t>
              </a:r>
              <a:endParaRPr lang="en-GB" sz="1400" b="1" dirty="0" err="1"/>
            </a:p>
          </p:txBody>
        </p:sp>
      </p:grpSp>
      <p:grpSp>
        <p:nvGrpSpPr>
          <p:cNvPr id="32" name="Group 31"/>
          <p:cNvGrpSpPr/>
          <p:nvPr/>
        </p:nvGrpSpPr>
        <p:grpSpPr>
          <a:xfrm>
            <a:off x="3675167" y="2474632"/>
            <a:ext cx="415295" cy="443775"/>
            <a:chOff x="4524551" y="3756113"/>
            <a:chExt cx="819227" cy="875407"/>
          </a:xfrm>
        </p:grpSpPr>
        <p:grpSp>
          <p:nvGrpSpPr>
            <p:cNvPr id="33" name="Group 32"/>
            <p:cNvGrpSpPr/>
            <p:nvPr/>
          </p:nvGrpSpPr>
          <p:grpSpPr>
            <a:xfrm>
              <a:off x="4524551" y="3756113"/>
              <a:ext cx="754662" cy="875407"/>
              <a:chOff x="6708741" y="967041"/>
              <a:chExt cx="1144680" cy="1327828"/>
            </a:xfrm>
          </p:grpSpPr>
          <p:sp>
            <p:nvSpPr>
              <p:cNvPr id="35" name="Hexagon 34"/>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36" name="Hexagon 35"/>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34" name="TextBox 33"/>
            <p:cNvSpPr txBox="1"/>
            <p:nvPr/>
          </p:nvSpPr>
          <p:spPr>
            <a:xfrm>
              <a:off x="4784306" y="3981998"/>
              <a:ext cx="559472" cy="424993"/>
            </a:xfrm>
            <a:prstGeom prst="rect">
              <a:avLst/>
            </a:prstGeom>
            <a:noFill/>
          </p:spPr>
          <p:txBody>
            <a:bodyPr wrap="square" lIns="0" tIns="0" rIns="0" bIns="0" rtlCol="0">
              <a:spAutoFit/>
            </a:bodyPr>
            <a:lstStyle/>
            <a:p>
              <a:r>
                <a:rPr lang="es-ES" sz="1400" b="1" dirty="0"/>
                <a:t>5</a:t>
              </a:r>
              <a:endParaRPr lang="en-GB" sz="1400" b="1" dirty="0" err="1"/>
            </a:p>
          </p:txBody>
        </p:sp>
      </p:grpSp>
      <p:grpSp>
        <p:nvGrpSpPr>
          <p:cNvPr id="37" name="Group 36"/>
          <p:cNvGrpSpPr/>
          <p:nvPr/>
        </p:nvGrpSpPr>
        <p:grpSpPr>
          <a:xfrm>
            <a:off x="4064820" y="2474632"/>
            <a:ext cx="415295" cy="443775"/>
            <a:chOff x="4524551" y="3756113"/>
            <a:chExt cx="819227" cy="875407"/>
          </a:xfrm>
        </p:grpSpPr>
        <p:grpSp>
          <p:nvGrpSpPr>
            <p:cNvPr id="38" name="Group 37"/>
            <p:cNvGrpSpPr/>
            <p:nvPr/>
          </p:nvGrpSpPr>
          <p:grpSpPr>
            <a:xfrm>
              <a:off x="4524551" y="3756113"/>
              <a:ext cx="754662" cy="875407"/>
              <a:chOff x="6708741" y="967041"/>
              <a:chExt cx="1144680" cy="1327828"/>
            </a:xfrm>
          </p:grpSpPr>
          <p:sp>
            <p:nvSpPr>
              <p:cNvPr id="40" name="Hexagon 39"/>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41" name="Hexagon 40"/>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39" name="TextBox 38"/>
            <p:cNvSpPr txBox="1"/>
            <p:nvPr/>
          </p:nvSpPr>
          <p:spPr>
            <a:xfrm>
              <a:off x="4784306" y="3981998"/>
              <a:ext cx="559472" cy="424993"/>
            </a:xfrm>
            <a:prstGeom prst="rect">
              <a:avLst/>
            </a:prstGeom>
            <a:noFill/>
          </p:spPr>
          <p:txBody>
            <a:bodyPr wrap="square" lIns="0" tIns="0" rIns="0" bIns="0" rtlCol="0">
              <a:spAutoFit/>
            </a:bodyPr>
            <a:lstStyle/>
            <a:p>
              <a:r>
                <a:rPr lang="es-ES" sz="1400" b="1" dirty="0"/>
                <a:t>6</a:t>
              </a:r>
              <a:endParaRPr lang="en-GB" sz="1400" b="1" dirty="0" err="1"/>
            </a:p>
          </p:txBody>
        </p:sp>
      </p:grpSp>
      <p:grpSp>
        <p:nvGrpSpPr>
          <p:cNvPr id="42" name="Group 41"/>
          <p:cNvGrpSpPr/>
          <p:nvPr/>
        </p:nvGrpSpPr>
        <p:grpSpPr>
          <a:xfrm>
            <a:off x="4453077" y="2474632"/>
            <a:ext cx="415295" cy="443775"/>
            <a:chOff x="4524551" y="3756113"/>
            <a:chExt cx="819227" cy="875407"/>
          </a:xfrm>
        </p:grpSpPr>
        <p:grpSp>
          <p:nvGrpSpPr>
            <p:cNvPr id="43" name="Group 42"/>
            <p:cNvGrpSpPr/>
            <p:nvPr/>
          </p:nvGrpSpPr>
          <p:grpSpPr>
            <a:xfrm>
              <a:off x="4524551" y="3756113"/>
              <a:ext cx="754662" cy="875407"/>
              <a:chOff x="6708741" y="967041"/>
              <a:chExt cx="1144680" cy="1327828"/>
            </a:xfrm>
          </p:grpSpPr>
          <p:sp>
            <p:nvSpPr>
              <p:cNvPr id="45" name="Hexagon 44"/>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46" name="Hexagon 45"/>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44" name="TextBox 43"/>
            <p:cNvSpPr txBox="1"/>
            <p:nvPr/>
          </p:nvSpPr>
          <p:spPr>
            <a:xfrm>
              <a:off x="4784306" y="3981998"/>
              <a:ext cx="559472" cy="424993"/>
            </a:xfrm>
            <a:prstGeom prst="rect">
              <a:avLst/>
            </a:prstGeom>
            <a:noFill/>
          </p:spPr>
          <p:txBody>
            <a:bodyPr wrap="square" lIns="0" tIns="0" rIns="0" bIns="0" rtlCol="0">
              <a:spAutoFit/>
            </a:bodyPr>
            <a:lstStyle/>
            <a:p>
              <a:r>
                <a:rPr lang="es-ES" sz="1400" b="1" dirty="0"/>
                <a:t>7</a:t>
              </a:r>
              <a:endParaRPr lang="en-GB" sz="1400" b="1" dirty="0" err="1"/>
            </a:p>
          </p:txBody>
        </p:sp>
      </p:grpSp>
      <p:grpSp>
        <p:nvGrpSpPr>
          <p:cNvPr id="47" name="Group 46"/>
          <p:cNvGrpSpPr/>
          <p:nvPr/>
        </p:nvGrpSpPr>
        <p:grpSpPr>
          <a:xfrm>
            <a:off x="1743292" y="3137664"/>
            <a:ext cx="415295" cy="443775"/>
            <a:chOff x="4524551" y="3756113"/>
            <a:chExt cx="819227" cy="875407"/>
          </a:xfrm>
        </p:grpSpPr>
        <p:grpSp>
          <p:nvGrpSpPr>
            <p:cNvPr id="48" name="Group 47"/>
            <p:cNvGrpSpPr/>
            <p:nvPr/>
          </p:nvGrpSpPr>
          <p:grpSpPr>
            <a:xfrm>
              <a:off x="4524551" y="3756113"/>
              <a:ext cx="754662" cy="875407"/>
              <a:chOff x="6708741" y="967041"/>
              <a:chExt cx="1144680" cy="1327828"/>
            </a:xfrm>
          </p:grpSpPr>
          <p:sp>
            <p:nvSpPr>
              <p:cNvPr id="50" name="Hexagon 49"/>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51" name="Hexagon 50"/>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49" name="TextBox 48"/>
            <p:cNvSpPr txBox="1"/>
            <p:nvPr/>
          </p:nvSpPr>
          <p:spPr>
            <a:xfrm>
              <a:off x="4784306" y="3981998"/>
              <a:ext cx="559472" cy="149248"/>
            </a:xfrm>
            <a:prstGeom prst="rect">
              <a:avLst/>
            </a:prstGeom>
            <a:noFill/>
          </p:spPr>
          <p:txBody>
            <a:bodyPr wrap="square" lIns="0" tIns="0" rIns="0" bIns="0" rtlCol="0">
              <a:spAutoFit/>
            </a:bodyPr>
            <a:lstStyle/>
            <a:p>
              <a:r>
                <a:rPr lang="es-ES" sz="1400" b="1" dirty="0"/>
                <a:t>0</a:t>
              </a:r>
              <a:endParaRPr lang="en-GB" sz="1400" b="1" dirty="0" err="1"/>
            </a:p>
          </p:txBody>
        </p:sp>
      </p:grpSp>
      <p:grpSp>
        <p:nvGrpSpPr>
          <p:cNvPr id="52" name="Group 51"/>
          <p:cNvGrpSpPr/>
          <p:nvPr/>
        </p:nvGrpSpPr>
        <p:grpSpPr>
          <a:xfrm>
            <a:off x="2131549" y="3137664"/>
            <a:ext cx="415295" cy="443775"/>
            <a:chOff x="4524551" y="3756113"/>
            <a:chExt cx="819227" cy="875407"/>
          </a:xfrm>
        </p:grpSpPr>
        <p:grpSp>
          <p:nvGrpSpPr>
            <p:cNvPr id="53" name="Group 52"/>
            <p:cNvGrpSpPr/>
            <p:nvPr/>
          </p:nvGrpSpPr>
          <p:grpSpPr>
            <a:xfrm>
              <a:off x="4524551" y="3756113"/>
              <a:ext cx="754662" cy="875407"/>
              <a:chOff x="6708741" y="967041"/>
              <a:chExt cx="1144680" cy="1327828"/>
            </a:xfrm>
          </p:grpSpPr>
          <p:sp>
            <p:nvSpPr>
              <p:cNvPr id="55" name="Hexagon 54"/>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56" name="Hexagon 55"/>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54" name="TextBox 53"/>
            <p:cNvSpPr txBox="1"/>
            <p:nvPr/>
          </p:nvSpPr>
          <p:spPr>
            <a:xfrm>
              <a:off x="4784306" y="3981998"/>
              <a:ext cx="559472" cy="424993"/>
            </a:xfrm>
            <a:prstGeom prst="rect">
              <a:avLst/>
            </a:prstGeom>
            <a:noFill/>
          </p:spPr>
          <p:txBody>
            <a:bodyPr wrap="square" lIns="0" tIns="0" rIns="0" bIns="0" rtlCol="0">
              <a:spAutoFit/>
            </a:bodyPr>
            <a:lstStyle/>
            <a:p>
              <a:r>
                <a:rPr lang="es-ES" sz="1400" b="1" dirty="0"/>
                <a:t>1</a:t>
              </a:r>
              <a:endParaRPr lang="en-GB" sz="1400" b="1" dirty="0" err="1"/>
            </a:p>
          </p:txBody>
        </p:sp>
      </p:grpSp>
      <p:grpSp>
        <p:nvGrpSpPr>
          <p:cNvPr id="57" name="Group 56"/>
          <p:cNvGrpSpPr/>
          <p:nvPr/>
        </p:nvGrpSpPr>
        <p:grpSpPr>
          <a:xfrm>
            <a:off x="2521202" y="3137664"/>
            <a:ext cx="415295" cy="443775"/>
            <a:chOff x="4524551" y="3756113"/>
            <a:chExt cx="819227" cy="875407"/>
          </a:xfrm>
        </p:grpSpPr>
        <p:grpSp>
          <p:nvGrpSpPr>
            <p:cNvPr id="58" name="Group 57"/>
            <p:cNvGrpSpPr/>
            <p:nvPr/>
          </p:nvGrpSpPr>
          <p:grpSpPr>
            <a:xfrm>
              <a:off x="4524551" y="3756113"/>
              <a:ext cx="754662" cy="875407"/>
              <a:chOff x="6708741" y="967041"/>
              <a:chExt cx="1144680" cy="1327828"/>
            </a:xfrm>
          </p:grpSpPr>
          <p:sp>
            <p:nvSpPr>
              <p:cNvPr id="60" name="Hexagon 59"/>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61" name="Hexagon 60"/>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59" name="TextBox 58"/>
            <p:cNvSpPr txBox="1"/>
            <p:nvPr/>
          </p:nvSpPr>
          <p:spPr>
            <a:xfrm>
              <a:off x="4784306" y="3981998"/>
              <a:ext cx="559472" cy="424993"/>
            </a:xfrm>
            <a:prstGeom prst="rect">
              <a:avLst/>
            </a:prstGeom>
            <a:noFill/>
          </p:spPr>
          <p:txBody>
            <a:bodyPr wrap="square" lIns="0" tIns="0" rIns="0" bIns="0" rtlCol="0">
              <a:spAutoFit/>
            </a:bodyPr>
            <a:lstStyle/>
            <a:p>
              <a:r>
                <a:rPr lang="es-ES" sz="1400" b="1" dirty="0"/>
                <a:t>2</a:t>
              </a:r>
              <a:endParaRPr lang="en-GB" sz="1400" b="1" dirty="0" err="1"/>
            </a:p>
          </p:txBody>
        </p:sp>
      </p:grpSp>
      <p:grpSp>
        <p:nvGrpSpPr>
          <p:cNvPr id="62" name="Group 61"/>
          <p:cNvGrpSpPr/>
          <p:nvPr/>
        </p:nvGrpSpPr>
        <p:grpSpPr>
          <a:xfrm>
            <a:off x="2909459" y="3137664"/>
            <a:ext cx="415295" cy="443775"/>
            <a:chOff x="4524551" y="3756113"/>
            <a:chExt cx="819227" cy="875407"/>
          </a:xfrm>
        </p:grpSpPr>
        <p:grpSp>
          <p:nvGrpSpPr>
            <p:cNvPr id="63" name="Group 62"/>
            <p:cNvGrpSpPr/>
            <p:nvPr/>
          </p:nvGrpSpPr>
          <p:grpSpPr>
            <a:xfrm>
              <a:off x="4524551" y="3756113"/>
              <a:ext cx="754662" cy="875407"/>
              <a:chOff x="6708741" y="967041"/>
              <a:chExt cx="1144680" cy="1327828"/>
            </a:xfrm>
          </p:grpSpPr>
          <p:sp>
            <p:nvSpPr>
              <p:cNvPr id="65" name="Hexagon 64"/>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66" name="Hexagon 65"/>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64" name="TextBox 63"/>
            <p:cNvSpPr txBox="1"/>
            <p:nvPr/>
          </p:nvSpPr>
          <p:spPr>
            <a:xfrm>
              <a:off x="4784306" y="3981998"/>
              <a:ext cx="559472" cy="424993"/>
            </a:xfrm>
            <a:prstGeom prst="rect">
              <a:avLst/>
            </a:prstGeom>
            <a:noFill/>
          </p:spPr>
          <p:txBody>
            <a:bodyPr wrap="square" lIns="0" tIns="0" rIns="0" bIns="0" rtlCol="0">
              <a:spAutoFit/>
            </a:bodyPr>
            <a:lstStyle/>
            <a:p>
              <a:r>
                <a:rPr lang="es-ES" sz="1400" b="1" dirty="0"/>
                <a:t>3</a:t>
              </a:r>
              <a:endParaRPr lang="en-GB" sz="1400" b="1" dirty="0" err="1"/>
            </a:p>
          </p:txBody>
        </p:sp>
      </p:grpSp>
      <p:grpSp>
        <p:nvGrpSpPr>
          <p:cNvPr id="67" name="Group 66"/>
          <p:cNvGrpSpPr/>
          <p:nvPr/>
        </p:nvGrpSpPr>
        <p:grpSpPr>
          <a:xfrm>
            <a:off x="3299112" y="3137663"/>
            <a:ext cx="415295" cy="443775"/>
            <a:chOff x="4524551" y="3756113"/>
            <a:chExt cx="819227" cy="875407"/>
          </a:xfrm>
        </p:grpSpPr>
        <p:grpSp>
          <p:nvGrpSpPr>
            <p:cNvPr id="68" name="Group 67"/>
            <p:cNvGrpSpPr/>
            <p:nvPr/>
          </p:nvGrpSpPr>
          <p:grpSpPr>
            <a:xfrm>
              <a:off x="4524551" y="3756113"/>
              <a:ext cx="754662" cy="875407"/>
              <a:chOff x="6708741" y="967041"/>
              <a:chExt cx="1144680" cy="1327828"/>
            </a:xfrm>
          </p:grpSpPr>
          <p:sp>
            <p:nvSpPr>
              <p:cNvPr id="70" name="Hexagon 69"/>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71" name="Hexagon 70"/>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69" name="TextBox 68"/>
            <p:cNvSpPr txBox="1"/>
            <p:nvPr/>
          </p:nvSpPr>
          <p:spPr>
            <a:xfrm>
              <a:off x="4784306" y="3981998"/>
              <a:ext cx="559472" cy="424993"/>
            </a:xfrm>
            <a:prstGeom prst="rect">
              <a:avLst/>
            </a:prstGeom>
            <a:noFill/>
          </p:spPr>
          <p:txBody>
            <a:bodyPr wrap="square" lIns="0" tIns="0" rIns="0" bIns="0" rtlCol="0">
              <a:spAutoFit/>
            </a:bodyPr>
            <a:lstStyle/>
            <a:p>
              <a:r>
                <a:rPr lang="es-ES" sz="1400" b="1" dirty="0"/>
                <a:t>4</a:t>
              </a:r>
              <a:endParaRPr lang="en-GB" sz="1400" b="1" dirty="0" err="1"/>
            </a:p>
          </p:txBody>
        </p:sp>
      </p:grpSp>
      <p:grpSp>
        <p:nvGrpSpPr>
          <p:cNvPr id="72" name="Group 71"/>
          <p:cNvGrpSpPr/>
          <p:nvPr/>
        </p:nvGrpSpPr>
        <p:grpSpPr>
          <a:xfrm>
            <a:off x="3687369" y="3137663"/>
            <a:ext cx="415295" cy="443775"/>
            <a:chOff x="4524551" y="3756113"/>
            <a:chExt cx="819227" cy="875407"/>
          </a:xfrm>
        </p:grpSpPr>
        <p:grpSp>
          <p:nvGrpSpPr>
            <p:cNvPr id="73" name="Group 72"/>
            <p:cNvGrpSpPr/>
            <p:nvPr/>
          </p:nvGrpSpPr>
          <p:grpSpPr>
            <a:xfrm>
              <a:off x="4524551" y="3756113"/>
              <a:ext cx="754662" cy="875407"/>
              <a:chOff x="6708741" y="967041"/>
              <a:chExt cx="1144680" cy="1327828"/>
            </a:xfrm>
          </p:grpSpPr>
          <p:sp>
            <p:nvSpPr>
              <p:cNvPr id="75" name="Hexagon 74"/>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76" name="Hexagon 75"/>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74" name="TextBox 73"/>
            <p:cNvSpPr txBox="1"/>
            <p:nvPr/>
          </p:nvSpPr>
          <p:spPr>
            <a:xfrm>
              <a:off x="4784306" y="3981998"/>
              <a:ext cx="559472" cy="424993"/>
            </a:xfrm>
            <a:prstGeom prst="rect">
              <a:avLst/>
            </a:prstGeom>
            <a:noFill/>
          </p:spPr>
          <p:txBody>
            <a:bodyPr wrap="square" lIns="0" tIns="0" rIns="0" bIns="0" rtlCol="0">
              <a:spAutoFit/>
            </a:bodyPr>
            <a:lstStyle/>
            <a:p>
              <a:r>
                <a:rPr lang="es-ES" sz="1400" b="1" dirty="0"/>
                <a:t>5</a:t>
              </a:r>
              <a:endParaRPr lang="en-GB" sz="1400" b="1" dirty="0" err="1"/>
            </a:p>
          </p:txBody>
        </p:sp>
      </p:grpSp>
      <p:grpSp>
        <p:nvGrpSpPr>
          <p:cNvPr id="77" name="Group 76"/>
          <p:cNvGrpSpPr/>
          <p:nvPr/>
        </p:nvGrpSpPr>
        <p:grpSpPr>
          <a:xfrm>
            <a:off x="4077022" y="3137663"/>
            <a:ext cx="415295" cy="443775"/>
            <a:chOff x="4524551" y="3756113"/>
            <a:chExt cx="819227" cy="875407"/>
          </a:xfrm>
        </p:grpSpPr>
        <p:grpSp>
          <p:nvGrpSpPr>
            <p:cNvPr id="78" name="Group 77"/>
            <p:cNvGrpSpPr/>
            <p:nvPr/>
          </p:nvGrpSpPr>
          <p:grpSpPr>
            <a:xfrm>
              <a:off x="4524551" y="3756113"/>
              <a:ext cx="754662" cy="875407"/>
              <a:chOff x="6708741" y="967041"/>
              <a:chExt cx="1144680" cy="1327828"/>
            </a:xfrm>
          </p:grpSpPr>
          <p:sp>
            <p:nvSpPr>
              <p:cNvPr id="80" name="Hexagon 79"/>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81" name="Hexagon 80"/>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79" name="TextBox 78"/>
            <p:cNvSpPr txBox="1"/>
            <p:nvPr/>
          </p:nvSpPr>
          <p:spPr>
            <a:xfrm>
              <a:off x="4784306" y="3981998"/>
              <a:ext cx="559472" cy="424993"/>
            </a:xfrm>
            <a:prstGeom prst="rect">
              <a:avLst/>
            </a:prstGeom>
            <a:noFill/>
          </p:spPr>
          <p:txBody>
            <a:bodyPr wrap="square" lIns="0" tIns="0" rIns="0" bIns="0" rtlCol="0">
              <a:spAutoFit/>
            </a:bodyPr>
            <a:lstStyle/>
            <a:p>
              <a:r>
                <a:rPr lang="es-ES" sz="1400" b="1" dirty="0"/>
                <a:t>6</a:t>
              </a:r>
              <a:endParaRPr lang="en-GB" sz="1400" b="1" dirty="0" err="1"/>
            </a:p>
          </p:txBody>
        </p:sp>
      </p:grpSp>
      <p:grpSp>
        <p:nvGrpSpPr>
          <p:cNvPr id="82" name="Group 81"/>
          <p:cNvGrpSpPr/>
          <p:nvPr/>
        </p:nvGrpSpPr>
        <p:grpSpPr>
          <a:xfrm>
            <a:off x="4465279" y="3137663"/>
            <a:ext cx="415295" cy="443775"/>
            <a:chOff x="4524551" y="3756113"/>
            <a:chExt cx="819227" cy="875407"/>
          </a:xfrm>
        </p:grpSpPr>
        <p:grpSp>
          <p:nvGrpSpPr>
            <p:cNvPr id="83" name="Group 82"/>
            <p:cNvGrpSpPr/>
            <p:nvPr/>
          </p:nvGrpSpPr>
          <p:grpSpPr>
            <a:xfrm>
              <a:off x="4524551" y="3756113"/>
              <a:ext cx="754662" cy="875407"/>
              <a:chOff x="6708741" y="967041"/>
              <a:chExt cx="1144680" cy="1327828"/>
            </a:xfrm>
          </p:grpSpPr>
          <p:sp>
            <p:nvSpPr>
              <p:cNvPr id="85" name="Hexagon 84"/>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86" name="Hexagon 85"/>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84" name="TextBox 83"/>
            <p:cNvSpPr txBox="1"/>
            <p:nvPr/>
          </p:nvSpPr>
          <p:spPr>
            <a:xfrm>
              <a:off x="4784306" y="3981998"/>
              <a:ext cx="559472" cy="424993"/>
            </a:xfrm>
            <a:prstGeom prst="rect">
              <a:avLst/>
            </a:prstGeom>
            <a:noFill/>
          </p:spPr>
          <p:txBody>
            <a:bodyPr wrap="square" lIns="0" tIns="0" rIns="0" bIns="0" rtlCol="0">
              <a:spAutoFit/>
            </a:bodyPr>
            <a:lstStyle/>
            <a:p>
              <a:r>
                <a:rPr lang="es-ES" sz="1400" b="1" dirty="0"/>
                <a:t>7</a:t>
              </a:r>
              <a:endParaRPr lang="en-GB" sz="1400" b="1" dirty="0" err="1"/>
            </a:p>
          </p:txBody>
        </p:sp>
      </p:grpSp>
      <p:grpSp>
        <p:nvGrpSpPr>
          <p:cNvPr id="87" name="Group 86"/>
          <p:cNvGrpSpPr/>
          <p:nvPr/>
        </p:nvGrpSpPr>
        <p:grpSpPr>
          <a:xfrm>
            <a:off x="1748984" y="3790629"/>
            <a:ext cx="415295" cy="443775"/>
            <a:chOff x="4524551" y="3756113"/>
            <a:chExt cx="819227" cy="875407"/>
          </a:xfrm>
        </p:grpSpPr>
        <p:grpSp>
          <p:nvGrpSpPr>
            <p:cNvPr id="88" name="Group 87"/>
            <p:cNvGrpSpPr/>
            <p:nvPr/>
          </p:nvGrpSpPr>
          <p:grpSpPr>
            <a:xfrm>
              <a:off x="4524551" y="3756113"/>
              <a:ext cx="754662" cy="875407"/>
              <a:chOff x="6708741" y="967041"/>
              <a:chExt cx="1144680" cy="1327828"/>
            </a:xfrm>
          </p:grpSpPr>
          <p:sp>
            <p:nvSpPr>
              <p:cNvPr id="90" name="Hexagon 89"/>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91" name="Hexagon 90"/>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89" name="TextBox 88"/>
            <p:cNvSpPr txBox="1"/>
            <p:nvPr/>
          </p:nvSpPr>
          <p:spPr>
            <a:xfrm>
              <a:off x="4784306" y="3981998"/>
              <a:ext cx="559472" cy="149248"/>
            </a:xfrm>
            <a:prstGeom prst="rect">
              <a:avLst/>
            </a:prstGeom>
            <a:noFill/>
          </p:spPr>
          <p:txBody>
            <a:bodyPr wrap="square" lIns="0" tIns="0" rIns="0" bIns="0" rtlCol="0">
              <a:spAutoFit/>
            </a:bodyPr>
            <a:lstStyle/>
            <a:p>
              <a:r>
                <a:rPr lang="es-ES" sz="1400" b="1" dirty="0"/>
                <a:t>0</a:t>
              </a:r>
              <a:endParaRPr lang="en-GB" sz="1400" b="1" dirty="0" err="1"/>
            </a:p>
          </p:txBody>
        </p:sp>
      </p:grpSp>
      <p:grpSp>
        <p:nvGrpSpPr>
          <p:cNvPr id="92" name="Group 91"/>
          <p:cNvGrpSpPr/>
          <p:nvPr/>
        </p:nvGrpSpPr>
        <p:grpSpPr>
          <a:xfrm>
            <a:off x="2137241" y="3790629"/>
            <a:ext cx="415295" cy="443775"/>
            <a:chOff x="4524551" y="3756113"/>
            <a:chExt cx="819227" cy="875407"/>
          </a:xfrm>
        </p:grpSpPr>
        <p:grpSp>
          <p:nvGrpSpPr>
            <p:cNvPr id="93" name="Group 92"/>
            <p:cNvGrpSpPr/>
            <p:nvPr/>
          </p:nvGrpSpPr>
          <p:grpSpPr>
            <a:xfrm>
              <a:off x="4524551" y="3756113"/>
              <a:ext cx="754662" cy="875407"/>
              <a:chOff x="6708741" y="967041"/>
              <a:chExt cx="1144680" cy="1327828"/>
            </a:xfrm>
          </p:grpSpPr>
          <p:sp>
            <p:nvSpPr>
              <p:cNvPr id="95" name="Hexagon 94"/>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96" name="Hexagon 95"/>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94" name="TextBox 93"/>
            <p:cNvSpPr txBox="1"/>
            <p:nvPr/>
          </p:nvSpPr>
          <p:spPr>
            <a:xfrm>
              <a:off x="4784306" y="3981998"/>
              <a:ext cx="559472" cy="424993"/>
            </a:xfrm>
            <a:prstGeom prst="rect">
              <a:avLst/>
            </a:prstGeom>
            <a:noFill/>
          </p:spPr>
          <p:txBody>
            <a:bodyPr wrap="square" lIns="0" tIns="0" rIns="0" bIns="0" rtlCol="0">
              <a:spAutoFit/>
            </a:bodyPr>
            <a:lstStyle/>
            <a:p>
              <a:r>
                <a:rPr lang="es-ES" sz="1400" b="1" dirty="0"/>
                <a:t>1</a:t>
              </a:r>
              <a:endParaRPr lang="en-GB" sz="1400" b="1" dirty="0" err="1"/>
            </a:p>
          </p:txBody>
        </p:sp>
      </p:grpSp>
      <p:grpSp>
        <p:nvGrpSpPr>
          <p:cNvPr id="97" name="Group 96"/>
          <p:cNvGrpSpPr/>
          <p:nvPr/>
        </p:nvGrpSpPr>
        <p:grpSpPr>
          <a:xfrm>
            <a:off x="2526894" y="3790629"/>
            <a:ext cx="415295" cy="443775"/>
            <a:chOff x="4524551" y="3756113"/>
            <a:chExt cx="819227" cy="875407"/>
          </a:xfrm>
        </p:grpSpPr>
        <p:grpSp>
          <p:nvGrpSpPr>
            <p:cNvPr id="98" name="Group 97"/>
            <p:cNvGrpSpPr/>
            <p:nvPr/>
          </p:nvGrpSpPr>
          <p:grpSpPr>
            <a:xfrm>
              <a:off x="4524551" y="3756113"/>
              <a:ext cx="754662" cy="875407"/>
              <a:chOff x="6708741" y="967041"/>
              <a:chExt cx="1144680" cy="1327828"/>
            </a:xfrm>
          </p:grpSpPr>
          <p:sp>
            <p:nvSpPr>
              <p:cNvPr id="100" name="Hexagon 99"/>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1" name="Hexagon 100"/>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99" name="TextBox 98"/>
            <p:cNvSpPr txBox="1"/>
            <p:nvPr/>
          </p:nvSpPr>
          <p:spPr>
            <a:xfrm>
              <a:off x="4784306" y="3981998"/>
              <a:ext cx="559472" cy="424993"/>
            </a:xfrm>
            <a:prstGeom prst="rect">
              <a:avLst/>
            </a:prstGeom>
            <a:noFill/>
          </p:spPr>
          <p:txBody>
            <a:bodyPr wrap="square" lIns="0" tIns="0" rIns="0" bIns="0" rtlCol="0">
              <a:spAutoFit/>
            </a:bodyPr>
            <a:lstStyle/>
            <a:p>
              <a:r>
                <a:rPr lang="es-ES" sz="1400" b="1" dirty="0"/>
                <a:t>2</a:t>
              </a:r>
              <a:endParaRPr lang="en-GB" sz="1400" b="1" dirty="0" err="1"/>
            </a:p>
          </p:txBody>
        </p:sp>
      </p:grpSp>
      <p:grpSp>
        <p:nvGrpSpPr>
          <p:cNvPr id="102" name="Group 101"/>
          <p:cNvGrpSpPr/>
          <p:nvPr/>
        </p:nvGrpSpPr>
        <p:grpSpPr>
          <a:xfrm>
            <a:off x="2915151" y="3790629"/>
            <a:ext cx="415295" cy="443775"/>
            <a:chOff x="4524551" y="3756113"/>
            <a:chExt cx="819227" cy="875407"/>
          </a:xfrm>
        </p:grpSpPr>
        <p:grpSp>
          <p:nvGrpSpPr>
            <p:cNvPr id="103" name="Group 102"/>
            <p:cNvGrpSpPr/>
            <p:nvPr/>
          </p:nvGrpSpPr>
          <p:grpSpPr>
            <a:xfrm>
              <a:off x="4524551" y="3756113"/>
              <a:ext cx="754662" cy="875407"/>
              <a:chOff x="6708741" y="967041"/>
              <a:chExt cx="1144680" cy="1327828"/>
            </a:xfrm>
          </p:grpSpPr>
          <p:sp>
            <p:nvSpPr>
              <p:cNvPr id="105" name="Hexagon 104"/>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6" name="Hexagon 105"/>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04" name="TextBox 103"/>
            <p:cNvSpPr txBox="1"/>
            <p:nvPr/>
          </p:nvSpPr>
          <p:spPr>
            <a:xfrm>
              <a:off x="4784306" y="3981998"/>
              <a:ext cx="559472" cy="424993"/>
            </a:xfrm>
            <a:prstGeom prst="rect">
              <a:avLst/>
            </a:prstGeom>
            <a:noFill/>
          </p:spPr>
          <p:txBody>
            <a:bodyPr wrap="square" lIns="0" tIns="0" rIns="0" bIns="0" rtlCol="0">
              <a:spAutoFit/>
            </a:bodyPr>
            <a:lstStyle/>
            <a:p>
              <a:r>
                <a:rPr lang="es-ES" sz="1400" b="1" dirty="0"/>
                <a:t>3</a:t>
              </a:r>
              <a:endParaRPr lang="en-GB" sz="1400" b="1" dirty="0" err="1"/>
            </a:p>
          </p:txBody>
        </p:sp>
      </p:grpSp>
      <p:grpSp>
        <p:nvGrpSpPr>
          <p:cNvPr id="107" name="Group 106"/>
          <p:cNvGrpSpPr/>
          <p:nvPr/>
        </p:nvGrpSpPr>
        <p:grpSpPr>
          <a:xfrm>
            <a:off x="3304804" y="3790628"/>
            <a:ext cx="415295" cy="443775"/>
            <a:chOff x="4524551" y="3756113"/>
            <a:chExt cx="819227" cy="875407"/>
          </a:xfrm>
        </p:grpSpPr>
        <p:grpSp>
          <p:nvGrpSpPr>
            <p:cNvPr id="108" name="Group 107"/>
            <p:cNvGrpSpPr/>
            <p:nvPr/>
          </p:nvGrpSpPr>
          <p:grpSpPr>
            <a:xfrm>
              <a:off x="4524551" y="3756113"/>
              <a:ext cx="754662" cy="875407"/>
              <a:chOff x="6708741" y="967041"/>
              <a:chExt cx="1144680" cy="1327828"/>
            </a:xfrm>
          </p:grpSpPr>
          <p:sp>
            <p:nvSpPr>
              <p:cNvPr id="110" name="Hexagon 109"/>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1" name="Hexagon 110"/>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09" name="TextBox 108"/>
            <p:cNvSpPr txBox="1"/>
            <p:nvPr/>
          </p:nvSpPr>
          <p:spPr>
            <a:xfrm>
              <a:off x="4784306" y="3981998"/>
              <a:ext cx="559472" cy="424993"/>
            </a:xfrm>
            <a:prstGeom prst="rect">
              <a:avLst/>
            </a:prstGeom>
            <a:noFill/>
          </p:spPr>
          <p:txBody>
            <a:bodyPr wrap="square" lIns="0" tIns="0" rIns="0" bIns="0" rtlCol="0">
              <a:spAutoFit/>
            </a:bodyPr>
            <a:lstStyle/>
            <a:p>
              <a:r>
                <a:rPr lang="es-ES" sz="1400" b="1" dirty="0"/>
                <a:t>4</a:t>
              </a:r>
              <a:endParaRPr lang="en-GB" sz="1400" b="1" dirty="0" err="1"/>
            </a:p>
          </p:txBody>
        </p:sp>
      </p:grpSp>
      <p:grpSp>
        <p:nvGrpSpPr>
          <p:cNvPr id="112" name="Group 111"/>
          <p:cNvGrpSpPr/>
          <p:nvPr/>
        </p:nvGrpSpPr>
        <p:grpSpPr>
          <a:xfrm>
            <a:off x="3693061" y="3790628"/>
            <a:ext cx="415295" cy="443775"/>
            <a:chOff x="4524551" y="3756113"/>
            <a:chExt cx="819227" cy="875407"/>
          </a:xfrm>
        </p:grpSpPr>
        <p:grpSp>
          <p:nvGrpSpPr>
            <p:cNvPr id="113" name="Group 112"/>
            <p:cNvGrpSpPr/>
            <p:nvPr/>
          </p:nvGrpSpPr>
          <p:grpSpPr>
            <a:xfrm>
              <a:off x="4524551" y="3756113"/>
              <a:ext cx="754662" cy="875407"/>
              <a:chOff x="6708741" y="967041"/>
              <a:chExt cx="1144680" cy="1327828"/>
            </a:xfrm>
          </p:grpSpPr>
          <p:sp>
            <p:nvSpPr>
              <p:cNvPr id="115" name="Hexagon 114"/>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6" name="Hexagon 115"/>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14" name="TextBox 113"/>
            <p:cNvSpPr txBox="1"/>
            <p:nvPr/>
          </p:nvSpPr>
          <p:spPr>
            <a:xfrm>
              <a:off x="4784306" y="3981998"/>
              <a:ext cx="559472" cy="424993"/>
            </a:xfrm>
            <a:prstGeom prst="rect">
              <a:avLst/>
            </a:prstGeom>
            <a:noFill/>
          </p:spPr>
          <p:txBody>
            <a:bodyPr wrap="square" lIns="0" tIns="0" rIns="0" bIns="0" rtlCol="0">
              <a:spAutoFit/>
            </a:bodyPr>
            <a:lstStyle/>
            <a:p>
              <a:r>
                <a:rPr lang="es-ES" sz="1400" b="1" dirty="0"/>
                <a:t>5</a:t>
              </a:r>
              <a:endParaRPr lang="en-GB" sz="1400" b="1" dirty="0" err="1"/>
            </a:p>
          </p:txBody>
        </p:sp>
      </p:grpSp>
      <p:grpSp>
        <p:nvGrpSpPr>
          <p:cNvPr id="117" name="Group 116"/>
          <p:cNvGrpSpPr/>
          <p:nvPr/>
        </p:nvGrpSpPr>
        <p:grpSpPr>
          <a:xfrm>
            <a:off x="4082714" y="3790628"/>
            <a:ext cx="415295" cy="443775"/>
            <a:chOff x="4524551" y="3756113"/>
            <a:chExt cx="819227" cy="875407"/>
          </a:xfrm>
        </p:grpSpPr>
        <p:grpSp>
          <p:nvGrpSpPr>
            <p:cNvPr id="118" name="Group 117"/>
            <p:cNvGrpSpPr/>
            <p:nvPr/>
          </p:nvGrpSpPr>
          <p:grpSpPr>
            <a:xfrm>
              <a:off x="4524551" y="3756113"/>
              <a:ext cx="754662" cy="875407"/>
              <a:chOff x="6708741" y="967041"/>
              <a:chExt cx="1144680" cy="1327828"/>
            </a:xfrm>
          </p:grpSpPr>
          <p:sp>
            <p:nvSpPr>
              <p:cNvPr id="120" name="Hexagon 119"/>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1" name="Hexagon 120"/>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19" name="TextBox 118"/>
            <p:cNvSpPr txBox="1"/>
            <p:nvPr/>
          </p:nvSpPr>
          <p:spPr>
            <a:xfrm>
              <a:off x="4784306" y="3981998"/>
              <a:ext cx="559472" cy="424993"/>
            </a:xfrm>
            <a:prstGeom prst="rect">
              <a:avLst/>
            </a:prstGeom>
            <a:noFill/>
          </p:spPr>
          <p:txBody>
            <a:bodyPr wrap="square" lIns="0" tIns="0" rIns="0" bIns="0" rtlCol="0">
              <a:spAutoFit/>
            </a:bodyPr>
            <a:lstStyle/>
            <a:p>
              <a:r>
                <a:rPr lang="es-ES" sz="1400" b="1" dirty="0"/>
                <a:t>6</a:t>
              </a:r>
              <a:endParaRPr lang="en-GB" sz="1400" b="1" dirty="0" err="1"/>
            </a:p>
          </p:txBody>
        </p:sp>
      </p:grpSp>
      <p:grpSp>
        <p:nvGrpSpPr>
          <p:cNvPr id="122" name="Group 121"/>
          <p:cNvGrpSpPr/>
          <p:nvPr/>
        </p:nvGrpSpPr>
        <p:grpSpPr>
          <a:xfrm>
            <a:off x="4470971" y="3790628"/>
            <a:ext cx="415295" cy="443775"/>
            <a:chOff x="4524551" y="3756113"/>
            <a:chExt cx="819227" cy="875407"/>
          </a:xfrm>
        </p:grpSpPr>
        <p:grpSp>
          <p:nvGrpSpPr>
            <p:cNvPr id="123" name="Group 122"/>
            <p:cNvGrpSpPr/>
            <p:nvPr/>
          </p:nvGrpSpPr>
          <p:grpSpPr>
            <a:xfrm>
              <a:off x="4524551" y="3756113"/>
              <a:ext cx="754662" cy="875407"/>
              <a:chOff x="6708741" y="967041"/>
              <a:chExt cx="1144680" cy="1327828"/>
            </a:xfrm>
          </p:grpSpPr>
          <p:sp>
            <p:nvSpPr>
              <p:cNvPr id="125" name="Hexagon 124"/>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6" name="Hexagon 125"/>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24" name="TextBox 123"/>
            <p:cNvSpPr txBox="1"/>
            <p:nvPr/>
          </p:nvSpPr>
          <p:spPr>
            <a:xfrm>
              <a:off x="4784306" y="3981998"/>
              <a:ext cx="559472" cy="424993"/>
            </a:xfrm>
            <a:prstGeom prst="rect">
              <a:avLst/>
            </a:prstGeom>
            <a:noFill/>
          </p:spPr>
          <p:txBody>
            <a:bodyPr wrap="square" lIns="0" tIns="0" rIns="0" bIns="0" rtlCol="0">
              <a:spAutoFit/>
            </a:bodyPr>
            <a:lstStyle/>
            <a:p>
              <a:r>
                <a:rPr lang="es-ES" sz="1400" b="1" dirty="0"/>
                <a:t>7</a:t>
              </a:r>
              <a:endParaRPr lang="en-GB" sz="1400" b="1" dirty="0" err="1"/>
            </a:p>
          </p:txBody>
        </p:sp>
      </p:grpSp>
      <p:grpSp>
        <p:nvGrpSpPr>
          <p:cNvPr id="127" name="Group 126"/>
          <p:cNvGrpSpPr/>
          <p:nvPr/>
        </p:nvGrpSpPr>
        <p:grpSpPr>
          <a:xfrm>
            <a:off x="4847994" y="2481509"/>
            <a:ext cx="415295" cy="443775"/>
            <a:chOff x="4524551" y="3756113"/>
            <a:chExt cx="819227" cy="875407"/>
          </a:xfrm>
        </p:grpSpPr>
        <p:grpSp>
          <p:nvGrpSpPr>
            <p:cNvPr id="128" name="Group 127"/>
            <p:cNvGrpSpPr/>
            <p:nvPr/>
          </p:nvGrpSpPr>
          <p:grpSpPr>
            <a:xfrm>
              <a:off x="4524551" y="3756113"/>
              <a:ext cx="754662" cy="875407"/>
              <a:chOff x="6708741" y="967041"/>
              <a:chExt cx="1144680" cy="1327828"/>
            </a:xfrm>
          </p:grpSpPr>
          <p:sp>
            <p:nvSpPr>
              <p:cNvPr id="130" name="Hexagon 129"/>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1" name="Hexagon 130"/>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29" name="TextBox 128"/>
            <p:cNvSpPr txBox="1"/>
            <p:nvPr/>
          </p:nvSpPr>
          <p:spPr>
            <a:xfrm>
              <a:off x="4784306" y="3981998"/>
              <a:ext cx="559472" cy="424993"/>
            </a:xfrm>
            <a:prstGeom prst="rect">
              <a:avLst/>
            </a:prstGeom>
            <a:noFill/>
          </p:spPr>
          <p:txBody>
            <a:bodyPr wrap="square" lIns="0" tIns="0" rIns="0" bIns="0" rtlCol="0">
              <a:spAutoFit/>
            </a:bodyPr>
            <a:lstStyle/>
            <a:p>
              <a:r>
                <a:rPr lang="es-ES" sz="1400" b="1" dirty="0"/>
                <a:t>8</a:t>
              </a:r>
              <a:endParaRPr lang="en-GB" sz="1400" b="1" dirty="0" err="1"/>
            </a:p>
          </p:txBody>
        </p:sp>
      </p:grpSp>
      <p:grpSp>
        <p:nvGrpSpPr>
          <p:cNvPr id="132" name="Group 131"/>
          <p:cNvGrpSpPr/>
          <p:nvPr/>
        </p:nvGrpSpPr>
        <p:grpSpPr>
          <a:xfrm>
            <a:off x="5259224" y="3795480"/>
            <a:ext cx="418398" cy="443775"/>
            <a:chOff x="4518430" y="3765680"/>
            <a:chExt cx="825348" cy="875407"/>
          </a:xfrm>
        </p:grpSpPr>
        <p:grpSp>
          <p:nvGrpSpPr>
            <p:cNvPr id="133" name="Group 132"/>
            <p:cNvGrpSpPr/>
            <p:nvPr/>
          </p:nvGrpSpPr>
          <p:grpSpPr>
            <a:xfrm>
              <a:off x="4518430" y="3765680"/>
              <a:ext cx="754662" cy="875407"/>
              <a:chOff x="6699456" y="981553"/>
              <a:chExt cx="1144680" cy="1327828"/>
            </a:xfrm>
          </p:grpSpPr>
          <p:sp>
            <p:nvSpPr>
              <p:cNvPr id="135" name="Hexagon 134"/>
              <p:cNvSpPr/>
              <p:nvPr/>
            </p:nvSpPr>
            <p:spPr>
              <a:xfrm rot="16200000">
                <a:off x="6607882" y="1073127"/>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6" name="Hexagon 135"/>
              <p:cNvSpPr/>
              <p:nvPr/>
            </p:nvSpPr>
            <p:spPr>
              <a:xfrm rot="16200000">
                <a:off x="6730769" y="1156550"/>
                <a:ext cx="1100618"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34" name="TextBox 133"/>
            <p:cNvSpPr txBox="1"/>
            <p:nvPr/>
          </p:nvSpPr>
          <p:spPr>
            <a:xfrm>
              <a:off x="4784306" y="3981998"/>
              <a:ext cx="559472" cy="424993"/>
            </a:xfrm>
            <a:prstGeom prst="rect">
              <a:avLst/>
            </a:prstGeom>
            <a:noFill/>
          </p:spPr>
          <p:txBody>
            <a:bodyPr wrap="square" lIns="0" tIns="0" rIns="0" bIns="0" rtlCol="0">
              <a:spAutoFit/>
            </a:bodyPr>
            <a:lstStyle/>
            <a:p>
              <a:r>
                <a:rPr lang="es-ES" sz="1400" b="1" dirty="0"/>
                <a:t>9</a:t>
              </a:r>
              <a:endParaRPr lang="en-GB" sz="1400" b="1" dirty="0" err="1"/>
            </a:p>
          </p:txBody>
        </p:sp>
      </p:grpSp>
      <p:grpSp>
        <p:nvGrpSpPr>
          <p:cNvPr id="137" name="Group 136"/>
          <p:cNvGrpSpPr/>
          <p:nvPr/>
        </p:nvGrpSpPr>
        <p:grpSpPr>
          <a:xfrm>
            <a:off x="4863879" y="3790627"/>
            <a:ext cx="415295" cy="443775"/>
            <a:chOff x="4524551" y="3756113"/>
            <a:chExt cx="819227" cy="875407"/>
          </a:xfrm>
        </p:grpSpPr>
        <p:grpSp>
          <p:nvGrpSpPr>
            <p:cNvPr id="138" name="Group 137"/>
            <p:cNvGrpSpPr/>
            <p:nvPr/>
          </p:nvGrpSpPr>
          <p:grpSpPr>
            <a:xfrm>
              <a:off x="4524551" y="3756113"/>
              <a:ext cx="754662" cy="875407"/>
              <a:chOff x="6708741" y="967041"/>
              <a:chExt cx="1144680" cy="1327828"/>
            </a:xfrm>
          </p:grpSpPr>
          <p:sp>
            <p:nvSpPr>
              <p:cNvPr id="140" name="Hexagon 139"/>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41" name="Hexagon 140"/>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39" name="TextBox 138"/>
            <p:cNvSpPr txBox="1"/>
            <p:nvPr/>
          </p:nvSpPr>
          <p:spPr>
            <a:xfrm>
              <a:off x="4784306" y="3981998"/>
              <a:ext cx="559472" cy="424993"/>
            </a:xfrm>
            <a:prstGeom prst="rect">
              <a:avLst/>
            </a:prstGeom>
            <a:noFill/>
          </p:spPr>
          <p:txBody>
            <a:bodyPr wrap="square" lIns="0" tIns="0" rIns="0" bIns="0" rtlCol="0">
              <a:spAutoFit/>
            </a:bodyPr>
            <a:lstStyle/>
            <a:p>
              <a:r>
                <a:rPr lang="es-ES" sz="1400" b="1" dirty="0"/>
                <a:t>8</a:t>
              </a:r>
              <a:endParaRPr lang="en-GB" sz="1400" b="1" dirty="0" err="1"/>
            </a:p>
          </p:txBody>
        </p:sp>
      </p:grpSp>
      <p:grpSp>
        <p:nvGrpSpPr>
          <p:cNvPr id="142" name="Group 141"/>
          <p:cNvGrpSpPr/>
          <p:nvPr/>
        </p:nvGrpSpPr>
        <p:grpSpPr>
          <a:xfrm>
            <a:off x="5241624" y="2485700"/>
            <a:ext cx="415295" cy="443775"/>
            <a:chOff x="4524551" y="3756113"/>
            <a:chExt cx="819227" cy="875407"/>
          </a:xfrm>
        </p:grpSpPr>
        <p:grpSp>
          <p:nvGrpSpPr>
            <p:cNvPr id="143" name="Group 142"/>
            <p:cNvGrpSpPr/>
            <p:nvPr/>
          </p:nvGrpSpPr>
          <p:grpSpPr>
            <a:xfrm>
              <a:off x="4524551" y="3756113"/>
              <a:ext cx="754662" cy="875407"/>
              <a:chOff x="6708741" y="967041"/>
              <a:chExt cx="1144680" cy="1327828"/>
            </a:xfrm>
          </p:grpSpPr>
          <p:sp>
            <p:nvSpPr>
              <p:cNvPr id="145" name="Hexagon 144"/>
              <p:cNvSpPr/>
              <p:nvPr/>
            </p:nvSpPr>
            <p:spPr>
              <a:xfrm rot="16200000">
                <a:off x="6617167" y="1058615"/>
                <a:ext cx="1327828" cy="1144680"/>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46" name="Hexagon 145"/>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44" name="TextBox 143"/>
            <p:cNvSpPr txBox="1"/>
            <p:nvPr/>
          </p:nvSpPr>
          <p:spPr>
            <a:xfrm>
              <a:off x="4784306" y="3981998"/>
              <a:ext cx="559472" cy="424993"/>
            </a:xfrm>
            <a:prstGeom prst="rect">
              <a:avLst/>
            </a:prstGeom>
            <a:noFill/>
          </p:spPr>
          <p:txBody>
            <a:bodyPr wrap="square" lIns="0" tIns="0" rIns="0" bIns="0" rtlCol="0">
              <a:spAutoFit/>
            </a:bodyPr>
            <a:lstStyle/>
            <a:p>
              <a:r>
                <a:rPr lang="es-ES" sz="1400" b="1" dirty="0"/>
                <a:t>9</a:t>
              </a:r>
              <a:endParaRPr lang="en-GB" sz="1400" b="1" dirty="0" err="1"/>
            </a:p>
          </p:txBody>
        </p:sp>
      </p:grpSp>
      <p:grpSp>
        <p:nvGrpSpPr>
          <p:cNvPr id="147" name="Group 146"/>
          <p:cNvGrpSpPr/>
          <p:nvPr/>
        </p:nvGrpSpPr>
        <p:grpSpPr>
          <a:xfrm>
            <a:off x="4861440" y="3136460"/>
            <a:ext cx="415295" cy="443775"/>
            <a:chOff x="4524551" y="3756113"/>
            <a:chExt cx="819227" cy="875407"/>
          </a:xfrm>
        </p:grpSpPr>
        <p:grpSp>
          <p:nvGrpSpPr>
            <p:cNvPr id="148" name="Group 147"/>
            <p:cNvGrpSpPr/>
            <p:nvPr/>
          </p:nvGrpSpPr>
          <p:grpSpPr>
            <a:xfrm>
              <a:off x="4524551" y="3756113"/>
              <a:ext cx="754662" cy="875407"/>
              <a:chOff x="6708741" y="967041"/>
              <a:chExt cx="1144680" cy="1327828"/>
            </a:xfrm>
          </p:grpSpPr>
          <p:sp>
            <p:nvSpPr>
              <p:cNvPr id="150" name="Hexagon 149"/>
              <p:cNvSpPr/>
              <p:nvPr/>
            </p:nvSpPr>
            <p:spPr>
              <a:xfrm rot="16200000">
                <a:off x="6617167" y="1058615"/>
                <a:ext cx="1327828" cy="1144680"/>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51" name="Hexagon 150"/>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49" name="TextBox 148"/>
            <p:cNvSpPr txBox="1"/>
            <p:nvPr/>
          </p:nvSpPr>
          <p:spPr>
            <a:xfrm>
              <a:off x="4784306" y="3981998"/>
              <a:ext cx="559472" cy="424993"/>
            </a:xfrm>
            <a:prstGeom prst="rect">
              <a:avLst/>
            </a:prstGeom>
            <a:noFill/>
          </p:spPr>
          <p:txBody>
            <a:bodyPr wrap="square" lIns="0" tIns="0" rIns="0" bIns="0" rtlCol="0">
              <a:spAutoFit/>
            </a:bodyPr>
            <a:lstStyle/>
            <a:p>
              <a:r>
                <a:rPr lang="es-ES" sz="1400" b="1" dirty="0"/>
                <a:t>8</a:t>
              </a:r>
              <a:endParaRPr lang="en-GB" sz="1400" b="1" dirty="0" err="1"/>
            </a:p>
          </p:txBody>
        </p:sp>
      </p:grpSp>
      <p:grpSp>
        <p:nvGrpSpPr>
          <p:cNvPr id="152" name="Group 151"/>
          <p:cNvGrpSpPr/>
          <p:nvPr/>
        </p:nvGrpSpPr>
        <p:grpSpPr>
          <a:xfrm>
            <a:off x="5655773" y="3790630"/>
            <a:ext cx="382565" cy="443775"/>
            <a:chOff x="4524551" y="3756113"/>
            <a:chExt cx="754662" cy="875407"/>
          </a:xfrm>
        </p:grpSpPr>
        <p:grpSp>
          <p:nvGrpSpPr>
            <p:cNvPr id="153" name="Group 152"/>
            <p:cNvGrpSpPr/>
            <p:nvPr/>
          </p:nvGrpSpPr>
          <p:grpSpPr>
            <a:xfrm>
              <a:off x="4524551" y="3756113"/>
              <a:ext cx="754662" cy="875407"/>
              <a:chOff x="6708741" y="967041"/>
              <a:chExt cx="1144680" cy="1327828"/>
            </a:xfrm>
          </p:grpSpPr>
          <p:sp>
            <p:nvSpPr>
              <p:cNvPr id="155" name="Hexagon 154"/>
              <p:cNvSpPr/>
              <p:nvPr/>
            </p:nvSpPr>
            <p:spPr>
              <a:xfrm rot="16200000">
                <a:off x="6617167" y="1058615"/>
                <a:ext cx="1327828" cy="1144680"/>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56" name="Hexagon 155"/>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54" name="TextBox 153"/>
            <p:cNvSpPr txBox="1"/>
            <p:nvPr/>
          </p:nvSpPr>
          <p:spPr>
            <a:xfrm>
              <a:off x="4708016" y="3981998"/>
              <a:ext cx="559472" cy="424993"/>
            </a:xfrm>
            <a:prstGeom prst="rect">
              <a:avLst/>
            </a:prstGeom>
            <a:noFill/>
          </p:spPr>
          <p:txBody>
            <a:bodyPr wrap="square" lIns="0" tIns="0" rIns="0" bIns="0" rtlCol="0">
              <a:spAutoFit/>
            </a:bodyPr>
            <a:lstStyle/>
            <a:p>
              <a:r>
                <a:rPr lang="es-ES" sz="1400" b="1" dirty="0"/>
                <a:t>10</a:t>
              </a:r>
              <a:endParaRPr lang="en-GB" sz="1400" b="1" dirty="0" err="1"/>
            </a:p>
          </p:txBody>
        </p:sp>
      </p:grpSp>
      <p:sp>
        <p:nvSpPr>
          <p:cNvPr id="159" name="TextBox 158"/>
          <p:cNvSpPr txBox="1"/>
          <p:nvPr/>
        </p:nvSpPr>
        <p:spPr>
          <a:xfrm>
            <a:off x="1169728" y="2615527"/>
            <a:ext cx="525785" cy="138499"/>
          </a:xfrm>
          <a:prstGeom prst="rect">
            <a:avLst/>
          </a:prstGeom>
          <a:noFill/>
        </p:spPr>
        <p:txBody>
          <a:bodyPr wrap="none" lIns="0" tIns="0" rIns="0" bIns="0" rtlCol="0">
            <a:spAutoFit/>
          </a:bodyPr>
          <a:lstStyle/>
          <a:p>
            <a:r>
              <a:rPr lang="es-ES" sz="900" dirty="0">
                <a:solidFill>
                  <a:schemeClr val="accent1"/>
                </a:solidFill>
              </a:rPr>
              <a:t>Partition-0</a:t>
            </a:r>
            <a:endParaRPr lang="en-GB" sz="900" dirty="0" err="1">
              <a:solidFill>
                <a:schemeClr val="accent1"/>
              </a:solidFill>
            </a:endParaRPr>
          </a:p>
        </p:txBody>
      </p:sp>
      <p:sp>
        <p:nvSpPr>
          <p:cNvPr id="160" name="TextBox 159"/>
          <p:cNvSpPr txBox="1"/>
          <p:nvPr/>
        </p:nvSpPr>
        <p:spPr>
          <a:xfrm>
            <a:off x="1169728" y="3280576"/>
            <a:ext cx="525785" cy="138499"/>
          </a:xfrm>
          <a:prstGeom prst="rect">
            <a:avLst/>
          </a:prstGeom>
          <a:noFill/>
        </p:spPr>
        <p:txBody>
          <a:bodyPr wrap="none" lIns="0" tIns="0" rIns="0" bIns="0" rtlCol="0">
            <a:spAutoFit/>
          </a:bodyPr>
          <a:lstStyle/>
          <a:p>
            <a:r>
              <a:rPr lang="es-ES" sz="900" dirty="0">
                <a:solidFill>
                  <a:schemeClr val="accent1"/>
                </a:solidFill>
              </a:rPr>
              <a:t>Partition-1</a:t>
            </a:r>
            <a:endParaRPr lang="en-GB" sz="900" dirty="0" err="1">
              <a:solidFill>
                <a:schemeClr val="accent1"/>
              </a:solidFill>
            </a:endParaRPr>
          </a:p>
        </p:txBody>
      </p:sp>
      <p:sp>
        <p:nvSpPr>
          <p:cNvPr id="161" name="TextBox 160"/>
          <p:cNvSpPr txBox="1"/>
          <p:nvPr/>
        </p:nvSpPr>
        <p:spPr>
          <a:xfrm>
            <a:off x="1173392" y="3911547"/>
            <a:ext cx="525785" cy="138499"/>
          </a:xfrm>
          <a:prstGeom prst="rect">
            <a:avLst/>
          </a:prstGeom>
          <a:noFill/>
        </p:spPr>
        <p:txBody>
          <a:bodyPr wrap="none" lIns="0" tIns="0" rIns="0" bIns="0" rtlCol="0">
            <a:spAutoFit/>
          </a:bodyPr>
          <a:lstStyle/>
          <a:p>
            <a:r>
              <a:rPr lang="es-ES" sz="900" dirty="0">
                <a:solidFill>
                  <a:schemeClr val="accent1"/>
                </a:solidFill>
              </a:rPr>
              <a:t>Partition-2</a:t>
            </a:r>
            <a:endParaRPr lang="en-GB" sz="900" dirty="0" err="1">
              <a:solidFill>
                <a:schemeClr val="accent1"/>
              </a:solidFill>
            </a:endParaRPr>
          </a:p>
        </p:txBody>
      </p:sp>
      <p:sp>
        <p:nvSpPr>
          <p:cNvPr id="162" name="Left Bracket 161"/>
          <p:cNvSpPr/>
          <p:nvPr/>
        </p:nvSpPr>
        <p:spPr bwMode="gray">
          <a:xfrm>
            <a:off x="993461" y="2548636"/>
            <a:ext cx="143393" cy="1617320"/>
          </a:xfrm>
          <a:prstGeom prst="leftBracket">
            <a:avLst/>
          </a:prstGeom>
          <a:ln w="1905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3" name="TextBox 162"/>
          <p:cNvSpPr txBox="1"/>
          <p:nvPr/>
        </p:nvSpPr>
        <p:spPr>
          <a:xfrm>
            <a:off x="544617" y="3266552"/>
            <a:ext cx="357470" cy="161583"/>
          </a:xfrm>
          <a:prstGeom prst="rect">
            <a:avLst/>
          </a:prstGeom>
          <a:noFill/>
        </p:spPr>
        <p:txBody>
          <a:bodyPr wrap="none" lIns="0" tIns="0" rIns="0" bIns="0" rtlCol="0">
            <a:spAutoFit/>
          </a:bodyPr>
          <a:lstStyle/>
          <a:p>
            <a:r>
              <a:rPr lang="es-ES" sz="1050" b="1" dirty="0">
                <a:solidFill>
                  <a:schemeClr val="accent1"/>
                </a:solidFill>
              </a:rPr>
              <a:t>Topic</a:t>
            </a:r>
            <a:endParaRPr lang="en-GB" sz="1050" b="1" dirty="0" err="1">
              <a:solidFill>
                <a:schemeClr val="accent1"/>
              </a:solidFill>
            </a:endParaRPr>
          </a:p>
        </p:txBody>
      </p:sp>
      <p:grpSp>
        <p:nvGrpSpPr>
          <p:cNvPr id="166" name="Group 165"/>
          <p:cNvGrpSpPr/>
          <p:nvPr/>
        </p:nvGrpSpPr>
        <p:grpSpPr>
          <a:xfrm>
            <a:off x="7365785" y="3403572"/>
            <a:ext cx="517067" cy="599797"/>
            <a:chOff x="7891893" y="1185046"/>
            <a:chExt cx="517067" cy="599797"/>
          </a:xfrm>
        </p:grpSpPr>
        <p:grpSp>
          <p:nvGrpSpPr>
            <p:cNvPr id="167" name="Group 166"/>
            <p:cNvGrpSpPr/>
            <p:nvPr/>
          </p:nvGrpSpPr>
          <p:grpSpPr>
            <a:xfrm>
              <a:off x="7891893" y="1185046"/>
              <a:ext cx="517067" cy="599797"/>
              <a:chOff x="6708741" y="967041"/>
              <a:chExt cx="1144680" cy="1327828"/>
            </a:xfrm>
          </p:grpSpPr>
          <p:sp>
            <p:nvSpPr>
              <p:cNvPr id="169" name="Hexagon 168"/>
              <p:cNvSpPr/>
              <p:nvPr/>
            </p:nvSpPr>
            <p:spPr>
              <a:xfrm rot="16200000">
                <a:off x="6617167" y="1058615"/>
                <a:ext cx="1327828" cy="1144680"/>
              </a:xfrm>
              <a:prstGeom prst="hexagon">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70" name="Hexagon 169"/>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grpSp>
        <p:sp>
          <p:nvSpPr>
            <p:cNvPr id="168" name="TextBox 167"/>
            <p:cNvSpPr txBox="1"/>
            <p:nvPr/>
          </p:nvSpPr>
          <p:spPr>
            <a:xfrm>
              <a:off x="7971691" y="1438777"/>
              <a:ext cx="357470" cy="92333"/>
            </a:xfrm>
            <a:prstGeom prst="rect">
              <a:avLst/>
            </a:prstGeom>
            <a:noFill/>
          </p:spPr>
          <p:txBody>
            <a:bodyPr wrap="none" lIns="0" tIns="0" rIns="0" bIns="0" rtlCol="0">
              <a:spAutoFit/>
            </a:bodyPr>
            <a:lstStyle/>
            <a:p>
              <a:r>
                <a:rPr lang="es-ES" sz="600" dirty="0"/>
                <a:t>Consumer</a:t>
              </a:r>
              <a:endParaRPr lang="en-GB" sz="1400" dirty="0" err="1"/>
            </a:p>
          </p:txBody>
        </p:sp>
      </p:grpSp>
      <p:grpSp>
        <p:nvGrpSpPr>
          <p:cNvPr id="171" name="Group 170"/>
          <p:cNvGrpSpPr/>
          <p:nvPr/>
        </p:nvGrpSpPr>
        <p:grpSpPr>
          <a:xfrm>
            <a:off x="7353950" y="2757449"/>
            <a:ext cx="517067" cy="599797"/>
            <a:chOff x="7891893" y="1185046"/>
            <a:chExt cx="517067" cy="599797"/>
          </a:xfrm>
        </p:grpSpPr>
        <p:grpSp>
          <p:nvGrpSpPr>
            <p:cNvPr id="172" name="Group 171"/>
            <p:cNvGrpSpPr/>
            <p:nvPr/>
          </p:nvGrpSpPr>
          <p:grpSpPr>
            <a:xfrm>
              <a:off x="7891893" y="1185046"/>
              <a:ext cx="517067" cy="599797"/>
              <a:chOff x="6708741" y="967041"/>
              <a:chExt cx="1144680" cy="1327828"/>
            </a:xfrm>
          </p:grpSpPr>
          <p:sp>
            <p:nvSpPr>
              <p:cNvPr id="174" name="Hexagon 173"/>
              <p:cNvSpPr/>
              <p:nvPr/>
            </p:nvSpPr>
            <p:spPr>
              <a:xfrm rot="16200000">
                <a:off x="6617167" y="1058615"/>
                <a:ext cx="1327828" cy="1144680"/>
              </a:xfrm>
              <a:prstGeom prst="hexagon">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75" name="Hexagon 174"/>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grpSp>
        <p:sp>
          <p:nvSpPr>
            <p:cNvPr id="173" name="TextBox 172"/>
            <p:cNvSpPr txBox="1"/>
            <p:nvPr/>
          </p:nvSpPr>
          <p:spPr>
            <a:xfrm>
              <a:off x="7971691" y="1438777"/>
              <a:ext cx="357470" cy="92333"/>
            </a:xfrm>
            <a:prstGeom prst="rect">
              <a:avLst/>
            </a:prstGeom>
            <a:noFill/>
          </p:spPr>
          <p:txBody>
            <a:bodyPr wrap="none" lIns="0" tIns="0" rIns="0" bIns="0" rtlCol="0">
              <a:spAutoFit/>
            </a:bodyPr>
            <a:lstStyle/>
            <a:p>
              <a:r>
                <a:rPr lang="es-ES" sz="600" dirty="0"/>
                <a:t>Consumer</a:t>
              </a:r>
              <a:endParaRPr lang="en-GB" sz="1400" dirty="0" err="1"/>
            </a:p>
          </p:txBody>
        </p:sp>
      </p:grpSp>
      <p:sp>
        <p:nvSpPr>
          <p:cNvPr id="176" name="Rectangle 175"/>
          <p:cNvSpPr/>
          <p:nvPr/>
        </p:nvSpPr>
        <p:spPr>
          <a:xfrm>
            <a:off x="7242122" y="2621171"/>
            <a:ext cx="1402152" cy="2249624"/>
          </a:xfrm>
          <a:prstGeom prst="rect">
            <a:avLst/>
          </a:prstGeom>
          <a:noFill/>
          <a:ln w="127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sp>
        <p:nvSpPr>
          <p:cNvPr id="177" name="TextBox 176"/>
          <p:cNvSpPr txBox="1"/>
          <p:nvPr/>
        </p:nvSpPr>
        <p:spPr>
          <a:xfrm>
            <a:off x="7684495" y="4691996"/>
            <a:ext cx="884858" cy="138499"/>
          </a:xfrm>
          <a:prstGeom prst="rect">
            <a:avLst/>
          </a:prstGeom>
          <a:noFill/>
        </p:spPr>
        <p:txBody>
          <a:bodyPr wrap="none" lIns="0" tIns="0" rIns="0" bIns="0" rtlCol="0">
            <a:spAutoFit/>
          </a:bodyPr>
          <a:lstStyle/>
          <a:p>
            <a:r>
              <a:rPr lang="es-ES" sz="900" dirty="0">
                <a:solidFill>
                  <a:schemeClr val="accent2"/>
                </a:solidFill>
              </a:rPr>
              <a:t>Consumer Group</a:t>
            </a:r>
            <a:endParaRPr lang="en-GB" sz="900" dirty="0" err="1">
              <a:solidFill>
                <a:schemeClr val="accent2"/>
              </a:solidFill>
            </a:endParaRPr>
          </a:p>
        </p:txBody>
      </p:sp>
      <p:grpSp>
        <p:nvGrpSpPr>
          <p:cNvPr id="178" name="Group 177"/>
          <p:cNvGrpSpPr/>
          <p:nvPr/>
        </p:nvGrpSpPr>
        <p:grpSpPr>
          <a:xfrm>
            <a:off x="7365544" y="4049014"/>
            <a:ext cx="517067" cy="599797"/>
            <a:chOff x="7891893" y="1185046"/>
            <a:chExt cx="517067" cy="599797"/>
          </a:xfrm>
        </p:grpSpPr>
        <p:grpSp>
          <p:nvGrpSpPr>
            <p:cNvPr id="179" name="Group 178"/>
            <p:cNvGrpSpPr/>
            <p:nvPr/>
          </p:nvGrpSpPr>
          <p:grpSpPr>
            <a:xfrm>
              <a:off x="7891893" y="1185046"/>
              <a:ext cx="517067" cy="599797"/>
              <a:chOff x="6708741" y="967041"/>
              <a:chExt cx="1144680" cy="1327828"/>
            </a:xfrm>
          </p:grpSpPr>
          <p:sp>
            <p:nvSpPr>
              <p:cNvPr id="181" name="Hexagon 180"/>
              <p:cNvSpPr/>
              <p:nvPr/>
            </p:nvSpPr>
            <p:spPr>
              <a:xfrm rot="16200000">
                <a:off x="6617167" y="1058615"/>
                <a:ext cx="1327828" cy="1144680"/>
              </a:xfrm>
              <a:prstGeom prst="hexagon">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82" name="Hexagon 181"/>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grpSp>
        <p:sp>
          <p:nvSpPr>
            <p:cNvPr id="180" name="TextBox 179"/>
            <p:cNvSpPr txBox="1"/>
            <p:nvPr/>
          </p:nvSpPr>
          <p:spPr>
            <a:xfrm>
              <a:off x="7971691" y="1438777"/>
              <a:ext cx="357470" cy="92333"/>
            </a:xfrm>
            <a:prstGeom prst="rect">
              <a:avLst/>
            </a:prstGeom>
            <a:noFill/>
          </p:spPr>
          <p:txBody>
            <a:bodyPr wrap="none" lIns="0" tIns="0" rIns="0" bIns="0" rtlCol="0">
              <a:spAutoFit/>
            </a:bodyPr>
            <a:lstStyle/>
            <a:p>
              <a:r>
                <a:rPr lang="es-ES" sz="600" dirty="0"/>
                <a:t>Consumer</a:t>
              </a:r>
              <a:endParaRPr lang="en-GB" sz="1400" dirty="0" err="1"/>
            </a:p>
          </p:txBody>
        </p:sp>
      </p:grpSp>
      <p:cxnSp>
        <p:nvCxnSpPr>
          <p:cNvPr id="183" name="Straight Arrow Connector 115734"/>
          <p:cNvCxnSpPr>
            <a:stCxn id="45" idx="3"/>
          </p:cNvCxnSpPr>
          <p:nvPr/>
        </p:nvCxnSpPr>
        <p:spPr bwMode="gray">
          <a:xfrm rot="16200000" flipH="1">
            <a:off x="5935950" y="1626816"/>
            <a:ext cx="124490" cy="2707671"/>
          </a:xfrm>
          <a:prstGeom prst="bentConnector2">
            <a:avLst/>
          </a:prstGeom>
          <a:ln w="1905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4" name="Straight Arrow Connector 115734"/>
          <p:cNvCxnSpPr>
            <a:stCxn id="75" idx="3"/>
          </p:cNvCxnSpPr>
          <p:nvPr/>
        </p:nvCxnSpPr>
        <p:spPr bwMode="gray">
          <a:xfrm rot="16200000" flipH="1">
            <a:off x="5569781" y="1890309"/>
            <a:ext cx="104874" cy="3487132"/>
          </a:xfrm>
          <a:prstGeom prst="bentConnector2">
            <a:avLst/>
          </a:prstGeom>
          <a:ln w="1905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15734"/>
          <p:cNvCxnSpPr>
            <a:stCxn id="120" idx="3"/>
          </p:cNvCxnSpPr>
          <p:nvPr/>
        </p:nvCxnSpPr>
        <p:spPr bwMode="gray">
          <a:xfrm rot="16200000" flipH="1">
            <a:off x="5771953" y="2736446"/>
            <a:ext cx="104315" cy="3100227"/>
          </a:xfrm>
          <a:prstGeom prst="bentConnector2">
            <a:avLst/>
          </a:prstGeom>
          <a:ln w="1905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86" name="TextBox 185"/>
          <p:cNvSpPr txBox="1"/>
          <p:nvPr/>
        </p:nvSpPr>
        <p:spPr>
          <a:xfrm>
            <a:off x="7951620" y="3007500"/>
            <a:ext cx="615553" cy="138499"/>
          </a:xfrm>
          <a:prstGeom prst="rect">
            <a:avLst/>
          </a:prstGeom>
          <a:noFill/>
        </p:spPr>
        <p:txBody>
          <a:bodyPr wrap="none" lIns="0" tIns="0" rIns="0" bIns="0" rtlCol="0">
            <a:spAutoFit/>
          </a:bodyPr>
          <a:lstStyle/>
          <a:p>
            <a:r>
              <a:rPr lang="es-ES" sz="900" dirty="0">
                <a:solidFill>
                  <a:schemeClr val="accent1"/>
                </a:solidFill>
              </a:rPr>
              <a:t>Offset: P0-7</a:t>
            </a:r>
            <a:endParaRPr lang="en-GB" sz="900" dirty="0" err="1">
              <a:solidFill>
                <a:schemeClr val="accent1"/>
              </a:solidFill>
            </a:endParaRPr>
          </a:p>
        </p:txBody>
      </p:sp>
      <p:sp>
        <p:nvSpPr>
          <p:cNvPr id="187" name="TextBox 186"/>
          <p:cNvSpPr txBox="1"/>
          <p:nvPr/>
        </p:nvSpPr>
        <p:spPr>
          <a:xfrm>
            <a:off x="7970085" y="3629831"/>
            <a:ext cx="615553" cy="138499"/>
          </a:xfrm>
          <a:prstGeom prst="rect">
            <a:avLst/>
          </a:prstGeom>
          <a:noFill/>
        </p:spPr>
        <p:txBody>
          <a:bodyPr wrap="none" lIns="0" tIns="0" rIns="0" bIns="0" rtlCol="0">
            <a:spAutoFit/>
          </a:bodyPr>
          <a:lstStyle/>
          <a:p>
            <a:r>
              <a:rPr lang="es-ES" sz="900" dirty="0">
                <a:solidFill>
                  <a:schemeClr val="accent1"/>
                </a:solidFill>
              </a:rPr>
              <a:t>Offset: P1-5</a:t>
            </a:r>
            <a:endParaRPr lang="en-GB" sz="900" dirty="0" err="1">
              <a:solidFill>
                <a:schemeClr val="accent1"/>
              </a:solidFill>
            </a:endParaRPr>
          </a:p>
        </p:txBody>
      </p:sp>
      <p:sp>
        <p:nvSpPr>
          <p:cNvPr id="188" name="TextBox 187"/>
          <p:cNvSpPr txBox="1"/>
          <p:nvPr/>
        </p:nvSpPr>
        <p:spPr>
          <a:xfrm>
            <a:off x="7970085" y="4269467"/>
            <a:ext cx="615553" cy="138499"/>
          </a:xfrm>
          <a:prstGeom prst="rect">
            <a:avLst/>
          </a:prstGeom>
          <a:noFill/>
        </p:spPr>
        <p:txBody>
          <a:bodyPr wrap="none" lIns="0" tIns="0" rIns="0" bIns="0" rtlCol="0">
            <a:spAutoFit/>
          </a:bodyPr>
          <a:lstStyle/>
          <a:p>
            <a:r>
              <a:rPr lang="es-ES" sz="900" dirty="0">
                <a:solidFill>
                  <a:schemeClr val="accent1"/>
                </a:solidFill>
              </a:rPr>
              <a:t>Offset: P2-6</a:t>
            </a:r>
            <a:endParaRPr lang="en-GB" sz="900" dirty="0" err="1">
              <a:solidFill>
                <a:schemeClr val="accent1"/>
              </a:solidFill>
            </a:endParaRPr>
          </a:p>
        </p:txBody>
      </p:sp>
      <p:sp>
        <p:nvSpPr>
          <p:cNvPr id="189" name="TextBox 188"/>
          <p:cNvSpPr txBox="1"/>
          <p:nvPr/>
        </p:nvSpPr>
        <p:spPr>
          <a:xfrm>
            <a:off x="1005310" y="1058301"/>
            <a:ext cx="7377971" cy="86177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s-ES" sz="1400" dirty="0"/>
              <a:t>Partitions are </a:t>
            </a:r>
            <a:r>
              <a:rPr lang="es-ES" sz="1400" dirty="0">
                <a:solidFill>
                  <a:schemeClr val="accent2"/>
                </a:solidFill>
              </a:rPr>
              <a:t>assigned</a:t>
            </a:r>
            <a:r>
              <a:rPr lang="es-ES" sz="1400" dirty="0"/>
              <a:t> to the Consumers within the </a:t>
            </a:r>
            <a:r>
              <a:rPr lang="es-ES" sz="1400" b="1" dirty="0">
                <a:solidFill>
                  <a:schemeClr val="accent2"/>
                </a:solidFill>
              </a:rPr>
              <a:t>Consumer Group</a:t>
            </a:r>
          </a:p>
          <a:p>
            <a:pPr marL="171450" indent="-171450">
              <a:buFont typeface="Arial" panose="020B0604020202020204" pitchFamily="34" charset="0"/>
              <a:buChar char="•"/>
            </a:pPr>
            <a:r>
              <a:rPr lang="es-ES" sz="1400" dirty="0"/>
              <a:t>Consumers remember </a:t>
            </a:r>
            <a:r>
              <a:rPr lang="es-ES" sz="1400" dirty="0">
                <a:solidFill>
                  <a:schemeClr val="accent2"/>
                </a:solidFill>
              </a:rPr>
              <a:t>offsets</a:t>
            </a:r>
            <a:r>
              <a:rPr lang="es-ES" sz="1400" dirty="0"/>
              <a:t> where they left off. – </a:t>
            </a:r>
            <a:r>
              <a:rPr lang="es-ES" sz="1400" dirty="0">
                <a:solidFill>
                  <a:schemeClr val="accent2"/>
                </a:solidFill>
              </a:rPr>
              <a:t>commit </a:t>
            </a:r>
            <a:r>
              <a:rPr lang="es-ES" sz="1400" dirty="0"/>
              <a:t>to Kafka</a:t>
            </a:r>
            <a:r>
              <a:rPr lang="es-ES" sz="1400" dirty="0">
                <a:solidFill>
                  <a:schemeClr val="accent2"/>
                </a:solidFill>
              </a:rPr>
              <a:t>.</a:t>
            </a:r>
          </a:p>
          <a:p>
            <a:pPr marL="171450" indent="-171450">
              <a:buFont typeface="Arial" panose="020B0604020202020204" pitchFamily="34" charset="0"/>
              <a:buChar char="•"/>
            </a:pPr>
            <a:r>
              <a:rPr lang="en-GB" sz="1400" dirty="0"/>
              <a:t>Moving partition ownership from one consumer to another is called a </a:t>
            </a:r>
            <a:r>
              <a:rPr lang="en-GB" sz="1400" dirty="0">
                <a:solidFill>
                  <a:srgbClr val="00B0F0"/>
                </a:solidFill>
              </a:rPr>
              <a:t>rebalance</a:t>
            </a:r>
            <a:r>
              <a:rPr lang="en-GB" sz="1400" dirty="0"/>
              <a:t>. Short window of unavailability of the entire consumer group</a:t>
            </a:r>
            <a:endParaRPr lang="es-ES" sz="1400" dirty="0"/>
          </a:p>
        </p:txBody>
      </p:sp>
      <p:pic>
        <p:nvPicPr>
          <p:cNvPr id="190" name="Picture 2" descr="EDEM Escuela de Empresarios, Fundación de la Comunidad Valenciana -  Asociación Valenciana de Fundaciones de la CV">
            <a:extLst>
              <a:ext uri="{FF2B5EF4-FFF2-40B4-BE49-F238E27FC236}">
                <a16:creationId xmlns:a16="http://schemas.microsoft.com/office/drawing/2014/main" id="{BC8A0CF4-1D64-4436-8544-F15CD6A50D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13758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livery Semantics</a:t>
            </a:r>
          </a:p>
        </p:txBody>
      </p:sp>
      <p:sp>
        <p:nvSpPr>
          <p:cNvPr id="3" name="Date Placeholder 2"/>
          <p:cNvSpPr>
            <a:spLocks noGrp="1"/>
          </p:cNvSpPr>
          <p:nvPr>
            <p:ph type="dt" sz="half" idx="2"/>
          </p:nvPr>
        </p:nvSpPr>
        <p:spPr/>
        <p:txBody>
          <a:bodyPr/>
          <a:lstStyle/>
          <a:p>
            <a:pPr defTabSz="685800"/>
            <a:fld id="{C0C9140A-8AD1-4D8E-9F46-B47E3C53E85F}" type="datetime1">
              <a:rPr lang="en-GB" smtClean="0"/>
              <a:t>02/12/2021</a:t>
            </a:fld>
            <a:endParaRPr lang="en-GB" dirty="0"/>
          </a:p>
        </p:txBody>
      </p:sp>
      <p:sp>
        <p:nvSpPr>
          <p:cNvPr id="5" name="Text Placeholder 4"/>
          <p:cNvSpPr>
            <a:spLocks noGrp="1"/>
          </p:cNvSpPr>
          <p:nvPr>
            <p:ph type="body" sz="quarter" idx="12"/>
          </p:nvPr>
        </p:nvSpPr>
        <p:spPr/>
        <p:txBody>
          <a:bodyPr/>
          <a:lstStyle/>
          <a:p>
            <a:endParaRPr lang="en-US"/>
          </a:p>
        </p:txBody>
      </p:sp>
      <p:sp>
        <p:nvSpPr>
          <p:cNvPr id="6" name="Footer Placeholder 5"/>
          <p:cNvSpPr>
            <a:spLocks noGrp="1"/>
          </p:cNvSpPr>
          <p:nvPr>
            <p:ph type="ftr" sz="quarter" idx="13"/>
          </p:nvPr>
        </p:nvSpPr>
        <p:spPr/>
        <p:txBody>
          <a:bodyPr/>
          <a:lstStyle/>
          <a:p>
            <a:r>
              <a:rPr lang="en-US"/>
              <a:t>Type here if  add info needed  for every slide</a:t>
            </a:r>
            <a:endParaRPr lang="en-US" dirty="0"/>
          </a:p>
        </p:txBody>
      </p:sp>
      <p:sp>
        <p:nvSpPr>
          <p:cNvPr id="9" name="Rectangle 8">
            <a:extLst>
              <a:ext uri="{FF2B5EF4-FFF2-40B4-BE49-F238E27FC236}">
                <a16:creationId xmlns:a16="http://schemas.microsoft.com/office/drawing/2014/main" id="{42277C24-13A3-44DB-B49B-2BD4EA758D2B}"/>
              </a:ext>
            </a:extLst>
          </p:cNvPr>
          <p:cNvSpPr/>
          <p:nvPr/>
        </p:nvSpPr>
        <p:spPr>
          <a:xfrm>
            <a:off x="653688" y="1111249"/>
            <a:ext cx="4986224" cy="2893100"/>
          </a:xfrm>
          <a:prstGeom prst="rect">
            <a:avLst/>
          </a:prstGeom>
        </p:spPr>
        <p:txBody>
          <a:bodyPr wrap="square">
            <a:spAutoFit/>
          </a:bodyPr>
          <a:lstStyle/>
          <a:p>
            <a:pPr marL="285750" indent="-285750">
              <a:buFont typeface="Arial" panose="020B0604020202020204" pitchFamily="34" charset="0"/>
              <a:buChar char="•"/>
            </a:pPr>
            <a:r>
              <a:rPr lang="en-US" sz="1400" b="1" dirty="0">
                <a:solidFill>
                  <a:schemeClr val="accent1"/>
                </a:solidFill>
              </a:rPr>
              <a:t>At most once. </a:t>
            </a:r>
          </a:p>
          <a:p>
            <a:pPr lvl="1"/>
            <a:r>
              <a:rPr lang="en-US" sz="1400" dirty="0"/>
              <a:t>A message should be delivered maximum only once. It's acceptable to lose a message rather than delivering a message twice in this semantic. </a:t>
            </a:r>
            <a:r>
              <a:rPr lang="en-US" sz="1400" b="1" dirty="0">
                <a:solidFill>
                  <a:schemeClr val="accent1"/>
                </a:solidFill>
              </a:rPr>
              <a:t> </a:t>
            </a:r>
          </a:p>
          <a:p>
            <a:pPr marL="285750" indent="-285750">
              <a:buFont typeface="Arial" panose="020B0604020202020204" pitchFamily="34" charset="0"/>
              <a:buChar char="•"/>
            </a:pPr>
            <a:r>
              <a:rPr lang="en-US" sz="1400" b="1" dirty="0">
                <a:solidFill>
                  <a:schemeClr val="accent1"/>
                </a:solidFill>
              </a:rPr>
              <a:t>At least once</a:t>
            </a:r>
          </a:p>
          <a:p>
            <a:pPr lvl="1"/>
            <a:r>
              <a:rPr lang="en-US" sz="1400" dirty="0"/>
              <a:t>It is acceptable to deliver a message more than once but no message should be lost. The producer ensures that all messages are delivered for sure, even though it may result in message duplication. </a:t>
            </a:r>
          </a:p>
          <a:p>
            <a:pPr marL="285750" indent="-285750">
              <a:buFont typeface="Arial" panose="020B0604020202020204" pitchFamily="34" charset="0"/>
              <a:buChar char="•"/>
            </a:pPr>
            <a:r>
              <a:rPr lang="en-US" sz="1400" b="1" dirty="0">
                <a:solidFill>
                  <a:schemeClr val="accent1"/>
                </a:solidFill>
              </a:rPr>
              <a:t>Exactly once</a:t>
            </a:r>
          </a:p>
          <a:p>
            <a:pPr lvl="1"/>
            <a:r>
              <a:rPr lang="en-US" sz="1400" dirty="0"/>
              <a:t>A message must be delivered only once and no message should be lost. This is the most difficult delivery semantic of all.</a:t>
            </a:r>
          </a:p>
        </p:txBody>
      </p:sp>
      <p:sp>
        <p:nvSpPr>
          <p:cNvPr id="14" name="Rounded Rectangle 114">
            <a:extLst>
              <a:ext uri="{FF2B5EF4-FFF2-40B4-BE49-F238E27FC236}">
                <a16:creationId xmlns:a16="http://schemas.microsoft.com/office/drawing/2014/main" id="{ECEC0677-B88E-4D19-8552-A442F8CE3DFC}"/>
              </a:ext>
            </a:extLst>
          </p:cNvPr>
          <p:cNvSpPr/>
          <p:nvPr/>
        </p:nvSpPr>
        <p:spPr>
          <a:xfrm flipV="1">
            <a:off x="6212450" y="1295215"/>
            <a:ext cx="228600" cy="1397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15">
            <a:extLst>
              <a:ext uri="{FF2B5EF4-FFF2-40B4-BE49-F238E27FC236}">
                <a16:creationId xmlns:a16="http://schemas.microsoft.com/office/drawing/2014/main" id="{A560B1FB-6037-4726-8B62-0C70DB9E2E61}"/>
              </a:ext>
            </a:extLst>
          </p:cNvPr>
          <p:cNvSpPr/>
          <p:nvPr/>
        </p:nvSpPr>
        <p:spPr>
          <a:xfrm flipV="1">
            <a:off x="6517250" y="1295215"/>
            <a:ext cx="228600" cy="1397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ed Rectangle 116">
            <a:extLst>
              <a:ext uri="{FF2B5EF4-FFF2-40B4-BE49-F238E27FC236}">
                <a16:creationId xmlns:a16="http://schemas.microsoft.com/office/drawing/2014/main" id="{4AD21047-46AE-4403-A549-D2C0F70E556C}"/>
              </a:ext>
            </a:extLst>
          </p:cNvPr>
          <p:cNvSpPr/>
          <p:nvPr/>
        </p:nvSpPr>
        <p:spPr>
          <a:xfrm flipV="1">
            <a:off x="6822050" y="1295215"/>
            <a:ext cx="228600" cy="1397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ounded Rectangle 117">
            <a:extLst>
              <a:ext uri="{FF2B5EF4-FFF2-40B4-BE49-F238E27FC236}">
                <a16:creationId xmlns:a16="http://schemas.microsoft.com/office/drawing/2014/main" id="{B4191114-963B-4703-AB69-71B21B47E59A}"/>
              </a:ext>
            </a:extLst>
          </p:cNvPr>
          <p:cNvSpPr/>
          <p:nvPr/>
        </p:nvSpPr>
        <p:spPr>
          <a:xfrm flipV="1">
            <a:off x="6212450" y="1523815"/>
            <a:ext cx="228600" cy="1397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ed Rectangle 118">
            <a:extLst>
              <a:ext uri="{FF2B5EF4-FFF2-40B4-BE49-F238E27FC236}">
                <a16:creationId xmlns:a16="http://schemas.microsoft.com/office/drawing/2014/main" id="{4A5E536C-D505-4160-916F-4BAB4B0FD1E6}"/>
              </a:ext>
            </a:extLst>
          </p:cNvPr>
          <p:cNvSpPr/>
          <p:nvPr/>
        </p:nvSpPr>
        <p:spPr>
          <a:xfrm flipV="1">
            <a:off x="6517250" y="1523815"/>
            <a:ext cx="228600" cy="1397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ounded Rectangle 119">
            <a:extLst>
              <a:ext uri="{FF2B5EF4-FFF2-40B4-BE49-F238E27FC236}">
                <a16:creationId xmlns:a16="http://schemas.microsoft.com/office/drawing/2014/main" id="{5ED7AAFB-5840-4209-AE24-EF101FA1F067}"/>
              </a:ext>
            </a:extLst>
          </p:cNvPr>
          <p:cNvSpPr/>
          <p:nvPr/>
        </p:nvSpPr>
        <p:spPr>
          <a:xfrm flipV="1">
            <a:off x="6822050" y="1523815"/>
            <a:ext cx="228600" cy="1397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ed Rectangle 120">
            <a:extLst>
              <a:ext uri="{FF2B5EF4-FFF2-40B4-BE49-F238E27FC236}">
                <a16:creationId xmlns:a16="http://schemas.microsoft.com/office/drawing/2014/main" id="{422DB4E2-C8DF-48F4-ABBE-9E16C391EA01}"/>
              </a:ext>
            </a:extLst>
          </p:cNvPr>
          <p:cNvSpPr/>
          <p:nvPr/>
        </p:nvSpPr>
        <p:spPr>
          <a:xfrm flipV="1">
            <a:off x="6212450" y="1752415"/>
            <a:ext cx="228600" cy="1397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ounded Rectangle 121">
            <a:extLst>
              <a:ext uri="{FF2B5EF4-FFF2-40B4-BE49-F238E27FC236}">
                <a16:creationId xmlns:a16="http://schemas.microsoft.com/office/drawing/2014/main" id="{BB60FA38-CD6D-442A-A203-0FFE141B5961}"/>
              </a:ext>
            </a:extLst>
          </p:cNvPr>
          <p:cNvSpPr/>
          <p:nvPr/>
        </p:nvSpPr>
        <p:spPr>
          <a:xfrm flipV="1">
            <a:off x="6517250" y="1752415"/>
            <a:ext cx="228600" cy="1397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ounded Rectangle 122">
            <a:extLst>
              <a:ext uri="{FF2B5EF4-FFF2-40B4-BE49-F238E27FC236}">
                <a16:creationId xmlns:a16="http://schemas.microsoft.com/office/drawing/2014/main" id="{EDAA6E45-755B-4F6B-877A-B2F804AB228C}"/>
              </a:ext>
            </a:extLst>
          </p:cNvPr>
          <p:cNvSpPr/>
          <p:nvPr/>
        </p:nvSpPr>
        <p:spPr>
          <a:xfrm flipV="1">
            <a:off x="6822050" y="1752415"/>
            <a:ext cx="228600" cy="1397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a:extLst>
              <a:ext uri="{FF2B5EF4-FFF2-40B4-BE49-F238E27FC236}">
                <a16:creationId xmlns:a16="http://schemas.microsoft.com/office/drawing/2014/main" id="{99217572-D730-4E30-835F-3F6FA8F5943F}"/>
              </a:ext>
            </a:extLst>
          </p:cNvPr>
          <p:cNvSpPr txBox="1"/>
          <p:nvPr/>
        </p:nvSpPr>
        <p:spPr>
          <a:xfrm>
            <a:off x="7598928" y="1890026"/>
            <a:ext cx="533800" cy="169277"/>
          </a:xfrm>
          <a:prstGeom prst="rect">
            <a:avLst/>
          </a:prstGeom>
          <a:noFill/>
        </p:spPr>
        <p:txBody>
          <a:bodyPr wrap="none" lIns="0" tIns="0" rIns="0" bIns="0" rtlCol="0">
            <a:spAutoFit/>
          </a:bodyPr>
          <a:lstStyle/>
          <a:p>
            <a:r>
              <a:rPr lang="en-US" sz="1100" b="1" dirty="0">
                <a:solidFill>
                  <a:schemeClr val="accent1"/>
                </a:solidFill>
              </a:rPr>
              <a:t>Latency</a:t>
            </a:r>
          </a:p>
        </p:txBody>
      </p:sp>
      <p:sp>
        <p:nvSpPr>
          <p:cNvPr id="36" name="Rounded Rectangle 114">
            <a:extLst>
              <a:ext uri="{FF2B5EF4-FFF2-40B4-BE49-F238E27FC236}">
                <a16:creationId xmlns:a16="http://schemas.microsoft.com/office/drawing/2014/main" id="{3610DBB3-C508-44A7-91C7-86BC5FC0BDB3}"/>
              </a:ext>
            </a:extLst>
          </p:cNvPr>
          <p:cNvSpPr/>
          <p:nvPr/>
        </p:nvSpPr>
        <p:spPr>
          <a:xfrm flipV="1">
            <a:off x="7439915" y="1288865"/>
            <a:ext cx="228600" cy="139700"/>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ounded Rectangle 115">
            <a:extLst>
              <a:ext uri="{FF2B5EF4-FFF2-40B4-BE49-F238E27FC236}">
                <a16:creationId xmlns:a16="http://schemas.microsoft.com/office/drawing/2014/main" id="{4D7C8F46-897D-4669-80B1-B223BAD18FC4}"/>
              </a:ext>
            </a:extLst>
          </p:cNvPr>
          <p:cNvSpPr/>
          <p:nvPr/>
        </p:nvSpPr>
        <p:spPr>
          <a:xfrm flipV="1">
            <a:off x="7744715" y="1288865"/>
            <a:ext cx="228600" cy="139700"/>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ounded Rectangle 116">
            <a:extLst>
              <a:ext uri="{FF2B5EF4-FFF2-40B4-BE49-F238E27FC236}">
                <a16:creationId xmlns:a16="http://schemas.microsoft.com/office/drawing/2014/main" id="{3145DC1C-F6E4-44CC-9362-1C1532E122F5}"/>
              </a:ext>
            </a:extLst>
          </p:cNvPr>
          <p:cNvSpPr/>
          <p:nvPr/>
        </p:nvSpPr>
        <p:spPr>
          <a:xfrm flipV="1">
            <a:off x="8049515" y="1288865"/>
            <a:ext cx="228600" cy="139700"/>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ounded Rectangle 117">
            <a:extLst>
              <a:ext uri="{FF2B5EF4-FFF2-40B4-BE49-F238E27FC236}">
                <a16:creationId xmlns:a16="http://schemas.microsoft.com/office/drawing/2014/main" id="{FC996403-0B01-4670-92B3-F6EB3C40051D}"/>
              </a:ext>
            </a:extLst>
          </p:cNvPr>
          <p:cNvSpPr/>
          <p:nvPr/>
        </p:nvSpPr>
        <p:spPr>
          <a:xfrm flipV="1">
            <a:off x="7439915" y="1517465"/>
            <a:ext cx="228600" cy="139700"/>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118">
            <a:extLst>
              <a:ext uri="{FF2B5EF4-FFF2-40B4-BE49-F238E27FC236}">
                <a16:creationId xmlns:a16="http://schemas.microsoft.com/office/drawing/2014/main" id="{DB3FB9B0-FE78-4E37-B2B0-6EFC62E275F7}"/>
              </a:ext>
            </a:extLst>
          </p:cNvPr>
          <p:cNvSpPr/>
          <p:nvPr/>
        </p:nvSpPr>
        <p:spPr>
          <a:xfrm flipV="1">
            <a:off x="7744715" y="1517465"/>
            <a:ext cx="228600" cy="139700"/>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ounded Rectangle 119">
            <a:extLst>
              <a:ext uri="{FF2B5EF4-FFF2-40B4-BE49-F238E27FC236}">
                <a16:creationId xmlns:a16="http://schemas.microsoft.com/office/drawing/2014/main" id="{8CDEBFA5-6087-4860-9789-611D83805E64}"/>
              </a:ext>
            </a:extLst>
          </p:cNvPr>
          <p:cNvSpPr/>
          <p:nvPr/>
        </p:nvSpPr>
        <p:spPr>
          <a:xfrm flipV="1">
            <a:off x="8049515" y="1517465"/>
            <a:ext cx="228600" cy="139700"/>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ounded Rectangle 120">
            <a:extLst>
              <a:ext uri="{FF2B5EF4-FFF2-40B4-BE49-F238E27FC236}">
                <a16:creationId xmlns:a16="http://schemas.microsoft.com/office/drawing/2014/main" id="{07F4269E-2EE7-4B25-9965-77FC620AEF4C}"/>
              </a:ext>
            </a:extLst>
          </p:cNvPr>
          <p:cNvSpPr/>
          <p:nvPr/>
        </p:nvSpPr>
        <p:spPr>
          <a:xfrm flipV="1">
            <a:off x="7439915" y="1746065"/>
            <a:ext cx="228600" cy="139700"/>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ounded Rectangle 121">
            <a:extLst>
              <a:ext uri="{FF2B5EF4-FFF2-40B4-BE49-F238E27FC236}">
                <a16:creationId xmlns:a16="http://schemas.microsoft.com/office/drawing/2014/main" id="{7D314AE2-FA39-4EB8-AF02-85306ECC7B3B}"/>
              </a:ext>
            </a:extLst>
          </p:cNvPr>
          <p:cNvSpPr/>
          <p:nvPr/>
        </p:nvSpPr>
        <p:spPr>
          <a:xfrm flipV="1">
            <a:off x="7744715" y="1746065"/>
            <a:ext cx="228600" cy="1397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ounded Rectangle 122">
            <a:extLst>
              <a:ext uri="{FF2B5EF4-FFF2-40B4-BE49-F238E27FC236}">
                <a16:creationId xmlns:a16="http://schemas.microsoft.com/office/drawing/2014/main" id="{5B884E1F-9569-4B5B-8BFB-97DD03B7C3BA}"/>
              </a:ext>
            </a:extLst>
          </p:cNvPr>
          <p:cNvSpPr/>
          <p:nvPr/>
        </p:nvSpPr>
        <p:spPr>
          <a:xfrm flipV="1">
            <a:off x="8049515" y="1746065"/>
            <a:ext cx="228600" cy="1397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ounded Rectangle 114">
            <a:extLst>
              <a:ext uri="{FF2B5EF4-FFF2-40B4-BE49-F238E27FC236}">
                <a16:creationId xmlns:a16="http://schemas.microsoft.com/office/drawing/2014/main" id="{99053AFE-D5AB-4A92-9CEE-984E5C7A3CC1}"/>
              </a:ext>
            </a:extLst>
          </p:cNvPr>
          <p:cNvSpPr/>
          <p:nvPr/>
        </p:nvSpPr>
        <p:spPr>
          <a:xfrm flipV="1">
            <a:off x="6212450" y="2316125"/>
            <a:ext cx="228600" cy="139700"/>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ounded Rectangle 115">
            <a:extLst>
              <a:ext uri="{FF2B5EF4-FFF2-40B4-BE49-F238E27FC236}">
                <a16:creationId xmlns:a16="http://schemas.microsoft.com/office/drawing/2014/main" id="{1FC8CC51-15E6-41E1-92AB-D99DF69F39D6}"/>
              </a:ext>
            </a:extLst>
          </p:cNvPr>
          <p:cNvSpPr/>
          <p:nvPr/>
        </p:nvSpPr>
        <p:spPr>
          <a:xfrm flipV="1">
            <a:off x="6517250" y="2316125"/>
            <a:ext cx="228600" cy="139700"/>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ounded Rectangle 116">
            <a:extLst>
              <a:ext uri="{FF2B5EF4-FFF2-40B4-BE49-F238E27FC236}">
                <a16:creationId xmlns:a16="http://schemas.microsoft.com/office/drawing/2014/main" id="{2130F800-7F94-46DC-8AE4-5CA0D8420A65}"/>
              </a:ext>
            </a:extLst>
          </p:cNvPr>
          <p:cNvSpPr/>
          <p:nvPr/>
        </p:nvSpPr>
        <p:spPr>
          <a:xfrm flipV="1">
            <a:off x="6822050" y="2316125"/>
            <a:ext cx="228600" cy="139700"/>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ounded Rectangle 117">
            <a:extLst>
              <a:ext uri="{FF2B5EF4-FFF2-40B4-BE49-F238E27FC236}">
                <a16:creationId xmlns:a16="http://schemas.microsoft.com/office/drawing/2014/main" id="{362CC52F-8F5F-44EB-A700-E56BCDFD3672}"/>
              </a:ext>
            </a:extLst>
          </p:cNvPr>
          <p:cNvSpPr/>
          <p:nvPr/>
        </p:nvSpPr>
        <p:spPr>
          <a:xfrm flipV="1">
            <a:off x="6212450" y="2544725"/>
            <a:ext cx="228600" cy="139700"/>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ounded Rectangle 118">
            <a:extLst>
              <a:ext uri="{FF2B5EF4-FFF2-40B4-BE49-F238E27FC236}">
                <a16:creationId xmlns:a16="http://schemas.microsoft.com/office/drawing/2014/main" id="{FAD0F324-9E5A-43C5-A5AD-B806B3DF3D3C}"/>
              </a:ext>
            </a:extLst>
          </p:cNvPr>
          <p:cNvSpPr/>
          <p:nvPr/>
        </p:nvSpPr>
        <p:spPr>
          <a:xfrm flipV="1">
            <a:off x="6517250" y="2544725"/>
            <a:ext cx="228600" cy="1397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ounded Rectangle 119">
            <a:extLst>
              <a:ext uri="{FF2B5EF4-FFF2-40B4-BE49-F238E27FC236}">
                <a16:creationId xmlns:a16="http://schemas.microsoft.com/office/drawing/2014/main" id="{FC9D9369-3029-4B38-9E92-801B6B8A1BEA}"/>
              </a:ext>
            </a:extLst>
          </p:cNvPr>
          <p:cNvSpPr/>
          <p:nvPr/>
        </p:nvSpPr>
        <p:spPr>
          <a:xfrm flipV="1">
            <a:off x="6822050" y="2544725"/>
            <a:ext cx="228600" cy="1397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ounded Rectangle 120">
            <a:extLst>
              <a:ext uri="{FF2B5EF4-FFF2-40B4-BE49-F238E27FC236}">
                <a16:creationId xmlns:a16="http://schemas.microsoft.com/office/drawing/2014/main" id="{F012A3BF-C851-4831-A583-5A8AF010C932}"/>
              </a:ext>
            </a:extLst>
          </p:cNvPr>
          <p:cNvSpPr/>
          <p:nvPr/>
        </p:nvSpPr>
        <p:spPr>
          <a:xfrm flipV="1">
            <a:off x="6212450" y="2773325"/>
            <a:ext cx="228600" cy="1397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ounded Rectangle 121">
            <a:extLst>
              <a:ext uri="{FF2B5EF4-FFF2-40B4-BE49-F238E27FC236}">
                <a16:creationId xmlns:a16="http://schemas.microsoft.com/office/drawing/2014/main" id="{95C26F64-6C4E-47E9-83E8-56052D410470}"/>
              </a:ext>
            </a:extLst>
          </p:cNvPr>
          <p:cNvSpPr/>
          <p:nvPr/>
        </p:nvSpPr>
        <p:spPr>
          <a:xfrm flipV="1">
            <a:off x="6517250" y="2773325"/>
            <a:ext cx="228600" cy="1397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ounded Rectangle 122">
            <a:extLst>
              <a:ext uri="{FF2B5EF4-FFF2-40B4-BE49-F238E27FC236}">
                <a16:creationId xmlns:a16="http://schemas.microsoft.com/office/drawing/2014/main" id="{D388EF8B-4FA2-4C58-8E11-684C1F4BCEF4}"/>
              </a:ext>
            </a:extLst>
          </p:cNvPr>
          <p:cNvSpPr/>
          <p:nvPr/>
        </p:nvSpPr>
        <p:spPr>
          <a:xfrm flipV="1">
            <a:off x="6822050" y="2773325"/>
            <a:ext cx="228600" cy="1397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TextBox 54">
            <a:extLst>
              <a:ext uri="{FF2B5EF4-FFF2-40B4-BE49-F238E27FC236}">
                <a16:creationId xmlns:a16="http://schemas.microsoft.com/office/drawing/2014/main" id="{7339BC67-F05E-4249-9A60-2CBC3D8A5F3A}"/>
              </a:ext>
            </a:extLst>
          </p:cNvPr>
          <p:cNvSpPr txBox="1"/>
          <p:nvPr/>
        </p:nvSpPr>
        <p:spPr>
          <a:xfrm>
            <a:off x="6248250" y="2920139"/>
            <a:ext cx="793487" cy="169277"/>
          </a:xfrm>
          <a:prstGeom prst="rect">
            <a:avLst/>
          </a:prstGeom>
          <a:noFill/>
        </p:spPr>
        <p:txBody>
          <a:bodyPr wrap="none" lIns="0" tIns="0" rIns="0" bIns="0" rtlCol="0">
            <a:spAutoFit/>
          </a:bodyPr>
          <a:lstStyle/>
          <a:p>
            <a:r>
              <a:rPr lang="en-US" sz="1100" b="1" dirty="0">
                <a:solidFill>
                  <a:schemeClr val="accent1"/>
                </a:solidFill>
              </a:rPr>
              <a:t>Throughput</a:t>
            </a:r>
            <a:endParaRPr lang="en-US" sz="1400" b="1" dirty="0">
              <a:solidFill>
                <a:schemeClr val="accent1"/>
              </a:solidFill>
            </a:endParaRPr>
          </a:p>
        </p:txBody>
      </p:sp>
      <p:sp>
        <p:nvSpPr>
          <p:cNvPr id="56" name="Rounded Rectangle 114">
            <a:extLst>
              <a:ext uri="{FF2B5EF4-FFF2-40B4-BE49-F238E27FC236}">
                <a16:creationId xmlns:a16="http://schemas.microsoft.com/office/drawing/2014/main" id="{096DE57B-7BA8-406A-9E78-4B160D89B35D}"/>
              </a:ext>
            </a:extLst>
          </p:cNvPr>
          <p:cNvSpPr/>
          <p:nvPr/>
        </p:nvSpPr>
        <p:spPr>
          <a:xfrm flipV="1">
            <a:off x="7439915" y="2315795"/>
            <a:ext cx="228600" cy="139700"/>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ounded Rectangle 115">
            <a:extLst>
              <a:ext uri="{FF2B5EF4-FFF2-40B4-BE49-F238E27FC236}">
                <a16:creationId xmlns:a16="http://schemas.microsoft.com/office/drawing/2014/main" id="{66E0BCB9-9140-4F58-B8C9-7EBEE2769A8E}"/>
              </a:ext>
            </a:extLst>
          </p:cNvPr>
          <p:cNvSpPr/>
          <p:nvPr/>
        </p:nvSpPr>
        <p:spPr>
          <a:xfrm flipV="1">
            <a:off x="7744715" y="2315795"/>
            <a:ext cx="228600" cy="139700"/>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ounded Rectangle 116">
            <a:extLst>
              <a:ext uri="{FF2B5EF4-FFF2-40B4-BE49-F238E27FC236}">
                <a16:creationId xmlns:a16="http://schemas.microsoft.com/office/drawing/2014/main" id="{A6DCDE8E-512D-459E-9950-35F289DBD675}"/>
              </a:ext>
            </a:extLst>
          </p:cNvPr>
          <p:cNvSpPr/>
          <p:nvPr/>
        </p:nvSpPr>
        <p:spPr>
          <a:xfrm flipV="1">
            <a:off x="8049515" y="2315795"/>
            <a:ext cx="228600" cy="139700"/>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ounded Rectangle 117">
            <a:extLst>
              <a:ext uri="{FF2B5EF4-FFF2-40B4-BE49-F238E27FC236}">
                <a16:creationId xmlns:a16="http://schemas.microsoft.com/office/drawing/2014/main" id="{267D8144-4508-4A7A-BBE3-CD76B4F41CC1}"/>
              </a:ext>
            </a:extLst>
          </p:cNvPr>
          <p:cNvSpPr/>
          <p:nvPr/>
        </p:nvSpPr>
        <p:spPr>
          <a:xfrm flipV="1">
            <a:off x="7439915" y="2544395"/>
            <a:ext cx="228600" cy="139700"/>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ounded Rectangle 118">
            <a:extLst>
              <a:ext uri="{FF2B5EF4-FFF2-40B4-BE49-F238E27FC236}">
                <a16:creationId xmlns:a16="http://schemas.microsoft.com/office/drawing/2014/main" id="{7E3240DB-EC57-4C10-B1C8-9E9CF1C94015}"/>
              </a:ext>
            </a:extLst>
          </p:cNvPr>
          <p:cNvSpPr/>
          <p:nvPr/>
        </p:nvSpPr>
        <p:spPr>
          <a:xfrm flipV="1">
            <a:off x="7744715" y="2544395"/>
            <a:ext cx="228600" cy="1397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ounded Rectangle 119">
            <a:extLst>
              <a:ext uri="{FF2B5EF4-FFF2-40B4-BE49-F238E27FC236}">
                <a16:creationId xmlns:a16="http://schemas.microsoft.com/office/drawing/2014/main" id="{41F9820B-91AF-4EEE-9646-F6B77E48B12F}"/>
              </a:ext>
            </a:extLst>
          </p:cNvPr>
          <p:cNvSpPr/>
          <p:nvPr/>
        </p:nvSpPr>
        <p:spPr>
          <a:xfrm flipV="1">
            <a:off x="8049515" y="2544395"/>
            <a:ext cx="228600" cy="1397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ounded Rectangle 120">
            <a:extLst>
              <a:ext uri="{FF2B5EF4-FFF2-40B4-BE49-F238E27FC236}">
                <a16:creationId xmlns:a16="http://schemas.microsoft.com/office/drawing/2014/main" id="{0762CCF4-F677-4588-BC99-34D766A4A7A5}"/>
              </a:ext>
            </a:extLst>
          </p:cNvPr>
          <p:cNvSpPr/>
          <p:nvPr/>
        </p:nvSpPr>
        <p:spPr>
          <a:xfrm flipV="1">
            <a:off x="7439915" y="2772995"/>
            <a:ext cx="228600" cy="1397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ounded Rectangle 121">
            <a:extLst>
              <a:ext uri="{FF2B5EF4-FFF2-40B4-BE49-F238E27FC236}">
                <a16:creationId xmlns:a16="http://schemas.microsoft.com/office/drawing/2014/main" id="{EF497EDB-F9B6-40C9-877E-469708690224}"/>
              </a:ext>
            </a:extLst>
          </p:cNvPr>
          <p:cNvSpPr/>
          <p:nvPr/>
        </p:nvSpPr>
        <p:spPr>
          <a:xfrm flipV="1">
            <a:off x="7744715" y="2772995"/>
            <a:ext cx="228600" cy="1397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ounded Rectangle 122">
            <a:extLst>
              <a:ext uri="{FF2B5EF4-FFF2-40B4-BE49-F238E27FC236}">
                <a16:creationId xmlns:a16="http://schemas.microsoft.com/office/drawing/2014/main" id="{7B8A60C4-0E9D-4CAC-B466-8FEF6B7FFB04}"/>
              </a:ext>
            </a:extLst>
          </p:cNvPr>
          <p:cNvSpPr/>
          <p:nvPr/>
        </p:nvSpPr>
        <p:spPr>
          <a:xfrm flipV="1">
            <a:off x="8049515" y="2772995"/>
            <a:ext cx="228600" cy="1397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TextBox 64">
            <a:extLst>
              <a:ext uri="{FF2B5EF4-FFF2-40B4-BE49-F238E27FC236}">
                <a16:creationId xmlns:a16="http://schemas.microsoft.com/office/drawing/2014/main" id="{8FD60795-B39A-4975-815F-6070776DDA84}"/>
              </a:ext>
            </a:extLst>
          </p:cNvPr>
          <p:cNvSpPr txBox="1"/>
          <p:nvPr/>
        </p:nvSpPr>
        <p:spPr>
          <a:xfrm>
            <a:off x="6248249" y="1913864"/>
            <a:ext cx="793487" cy="169277"/>
          </a:xfrm>
          <a:prstGeom prst="rect">
            <a:avLst/>
          </a:prstGeom>
          <a:noFill/>
        </p:spPr>
        <p:txBody>
          <a:bodyPr wrap="none" lIns="0" tIns="0" rIns="0" bIns="0" rtlCol="0">
            <a:spAutoFit/>
          </a:bodyPr>
          <a:lstStyle/>
          <a:p>
            <a:r>
              <a:rPr lang="en-US" sz="1100" b="1" dirty="0">
                <a:solidFill>
                  <a:schemeClr val="accent1"/>
                </a:solidFill>
              </a:rPr>
              <a:t>Throughput</a:t>
            </a:r>
            <a:endParaRPr lang="en-US" sz="1400" b="1" dirty="0">
              <a:solidFill>
                <a:schemeClr val="accent1"/>
              </a:solidFill>
            </a:endParaRPr>
          </a:p>
        </p:txBody>
      </p:sp>
      <p:sp>
        <p:nvSpPr>
          <p:cNvPr id="66" name="TextBox 65">
            <a:extLst>
              <a:ext uri="{FF2B5EF4-FFF2-40B4-BE49-F238E27FC236}">
                <a16:creationId xmlns:a16="http://schemas.microsoft.com/office/drawing/2014/main" id="{D6838585-71F4-4A2C-8099-D2A6057AB529}"/>
              </a:ext>
            </a:extLst>
          </p:cNvPr>
          <p:cNvSpPr txBox="1"/>
          <p:nvPr/>
        </p:nvSpPr>
        <p:spPr>
          <a:xfrm>
            <a:off x="7598928" y="2920183"/>
            <a:ext cx="533800" cy="169277"/>
          </a:xfrm>
          <a:prstGeom prst="rect">
            <a:avLst/>
          </a:prstGeom>
          <a:noFill/>
        </p:spPr>
        <p:txBody>
          <a:bodyPr wrap="none" lIns="0" tIns="0" rIns="0" bIns="0" rtlCol="0">
            <a:spAutoFit/>
          </a:bodyPr>
          <a:lstStyle/>
          <a:p>
            <a:r>
              <a:rPr lang="en-US" sz="1100" b="1" dirty="0">
                <a:solidFill>
                  <a:schemeClr val="accent1"/>
                </a:solidFill>
              </a:rPr>
              <a:t>Latency</a:t>
            </a:r>
          </a:p>
        </p:txBody>
      </p:sp>
      <p:sp>
        <p:nvSpPr>
          <p:cNvPr id="67" name="Rounded Rectangle 114">
            <a:extLst>
              <a:ext uri="{FF2B5EF4-FFF2-40B4-BE49-F238E27FC236}">
                <a16:creationId xmlns:a16="http://schemas.microsoft.com/office/drawing/2014/main" id="{A0B74718-6555-42EC-AB2F-8A5AF8FE785F}"/>
              </a:ext>
            </a:extLst>
          </p:cNvPr>
          <p:cNvSpPr/>
          <p:nvPr/>
        </p:nvSpPr>
        <p:spPr>
          <a:xfrm flipV="1">
            <a:off x="6206239" y="3292823"/>
            <a:ext cx="228600" cy="139700"/>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ounded Rectangle 115">
            <a:extLst>
              <a:ext uri="{FF2B5EF4-FFF2-40B4-BE49-F238E27FC236}">
                <a16:creationId xmlns:a16="http://schemas.microsoft.com/office/drawing/2014/main" id="{100E9946-8D58-4846-A25D-2F1D0F41FB0F}"/>
              </a:ext>
            </a:extLst>
          </p:cNvPr>
          <p:cNvSpPr/>
          <p:nvPr/>
        </p:nvSpPr>
        <p:spPr>
          <a:xfrm flipV="1">
            <a:off x="6511039" y="3292823"/>
            <a:ext cx="228600" cy="139700"/>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ounded Rectangle 116">
            <a:extLst>
              <a:ext uri="{FF2B5EF4-FFF2-40B4-BE49-F238E27FC236}">
                <a16:creationId xmlns:a16="http://schemas.microsoft.com/office/drawing/2014/main" id="{340811B6-EA7A-40F9-9631-E02D9A6F808A}"/>
              </a:ext>
            </a:extLst>
          </p:cNvPr>
          <p:cNvSpPr/>
          <p:nvPr/>
        </p:nvSpPr>
        <p:spPr>
          <a:xfrm flipV="1">
            <a:off x="6815839" y="3292823"/>
            <a:ext cx="228600" cy="139700"/>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ounded Rectangle 117">
            <a:extLst>
              <a:ext uri="{FF2B5EF4-FFF2-40B4-BE49-F238E27FC236}">
                <a16:creationId xmlns:a16="http://schemas.microsoft.com/office/drawing/2014/main" id="{726DF86C-8DD8-4B59-B3B9-3C3A4F2457A9}"/>
              </a:ext>
            </a:extLst>
          </p:cNvPr>
          <p:cNvSpPr/>
          <p:nvPr/>
        </p:nvSpPr>
        <p:spPr>
          <a:xfrm flipV="1">
            <a:off x="6206239" y="3521423"/>
            <a:ext cx="228600" cy="139700"/>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ounded Rectangle 118">
            <a:extLst>
              <a:ext uri="{FF2B5EF4-FFF2-40B4-BE49-F238E27FC236}">
                <a16:creationId xmlns:a16="http://schemas.microsoft.com/office/drawing/2014/main" id="{98BB5668-20BF-4F4E-98AB-C866DEFA169C}"/>
              </a:ext>
            </a:extLst>
          </p:cNvPr>
          <p:cNvSpPr/>
          <p:nvPr/>
        </p:nvSpPr>
        <p:spPr>
          <a:xfrm flipV="1">
            <a:off x="6511039" y="3521423"/>
            <a:ext cx="228600" cy="139700"/>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ounded Rectangle 119">
            <a:extLst>
              <a:ext uri="{FF2B5EF4-FFF2-40B4-BE49-F238E27FC236}">
                <a16:creationId xmlns:a16="http://schemas.microsoft.com/office/drawing/2014/main" id="{F2F1509C-5E67-4EC9-9C7B-78015A4630B1}"/>
              </a:ext>
            </a:extLst>
          </p:cNvPr>
          <p:cNvSpPr/>
          <p:nvPr/>
        </p:nvSpPr>
        <p:spPr>
          <a:xfrm flipV="1">
            <a:off x="6815839" y="3521423"/>
            <a:ext cx="228600" cy="139700"/>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ounded Rectangle 120">
            <a:extLst>
              <a:ext uri="{FF2B5EF4-FFF2-40B4-BE49-F238E27FC236}">
                <a16:creationId xmlns:a16="http://schemas.microsoft.com/office/drawing/2014/main" id="{A5634AC4-6C30-4748-85B5-284E87DA2C8E}"/>
              </a:ext>
            </a:extLst>
          </p:cNvPr>
          <p:cNvSpPr/>
          <p:nvPr/>
        </p:nvSpPr>
        <p:spPr>
          <a:xfrm flipV="1">
            <a:off x="6206239" y="3750023"/>
            <a:ext cx="228600" cy="139700"/>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ounded Rectangle 121">
            <a:extLst>
              <a:ext uri="{FF2B5EF4-FFF2-40B4-BE49-F238E27FC236}">
                <a16:creationId xmlns:a16="http://schemas.microsoft.com/office/drawing/2014/main" id="{3DBFD4E3-A599-4334-829B-9AB04321FB6D}"/>
              </a:ext>
            </a:extLst>
          </p:cNvPr>
          <p:cNvSpPr/>
          <p:nvPr/>
        </p:nvSpPr>
        <p:spPr>
          <a:xfrm flipV="1">
            <a:off x="6511039" y="3750023"/>
            <a:ext cx="228600" cy="1397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ounded Rectangle 122">
            <a:extLst>
              <a:ext uri="{FF2B5EF4-FFF2-40B4-BE49-F238E27FC236}">
                <a16:creationId xmlns:a16="http://schemas.microsoft.com/office/drawing/2014/main" id="{67CC81D0-EB36-4EFC-8D03-0DAC514A8C5C}"/>
              </a:ext>
            </a:extLst>
          </p:cNvPr>
          <p:cNvSpPr/>
          <p:nvPr/>
        </p:nvSpPr>
        <p:spPr>
          <a:xfrm flipV="1">
            <a:off x="6815839" y="3750023"/>
            <a:ext cx="228600" cy="1397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TextBox 75">
            <a:extLst>
              <a:ext uri="{FF2B5EF4-FFF2-40B4-BE49-F238E27FC236}">
                <a16:creationId xmlns:a16="http://schemas.microsoft.com/office/drawing/2014/main" id="{27025EEF-8A6F-4C8E-A2B8-F7B89A290DA0}"/>
              </a:ext>
            </a:extLst>
          </p:cNvPr>
          <p:cNvSpPr txBox="1"/>
          <p:nvPr/>
        </p:nvSpPr>
        <p:spPr>
          <a:xfrm>
            <a:off x="6242039" y="3896837"/>
            <a:ext cx="793487" cy="169277"/>
          </a:xfrm>
          <a:prstGeom prst="rect">
            <a:avLst/>
          </a:prstGeom>
          <a:noFill/>
        </p:spPr>
        <p:txBody>
          <a:bodyPr wrap="none" lIns="0" tIns="0" rIns="0" bIns="0" rtlCol="0">
            <a:spAutoFit/>
          </a:bodyPr>
          <a:lstStyle/>
          <a:p>
            <a:r>
              <a:rPr lang="en-US" sz="1100" b="1" dirty="0">
                <a:solidFill>
                  <a:schemeClr val="accent1"/>
                </a:solidFill>
              </a:rPr>
              <a:t>Throughput</a:t>
            </a:r>
            <a:endParaRPr lang="en-US" sz="1400" b="1" dirty="0">
              <a:solidFill>
                <a:schemeClr val="accent1"/>
              </a:solidFill>
            </a:endParaRPr>
          </a:p>
        </p:txBody>
      </p:sp>
      <p:sp>
        <p:nvSpPr>
          <p:cNvPr id="77" name="Rounded Rectangle 114">
            <a:extLst>
              <a:ext uri="{FF2B5EF4-FFF2-40B4-BE49-F238E27FC236}">
                <a16:creationId xmlns:a16="http://schemas.microsoft.com/office/drawing/2014/main" id="{E874416A-D66F-4155-BBE2-AE59C89D418C}"/>
              </a:ext>
            </a:extLst>
          </p:cNvPr>
          <p:cNvSpPr/>
          <p:nvPr/>
        </p:nvSpPr>
        <p:spPr>
          <a:xfrm flipV="1">
            <a:off x="7433704" y="3292493"/>
            <a:ext cx="228600" cy="139700"/>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ounded Rectangle 115">
            <a:extLst>
              <a:ext uri="{FF2B5EF4-FFF2-40B4-BE49-F238E27FC236}">
                <a16:creationId xmlns:a16="http://schemas.microsoft.com/office/drawing/2014/main" id="{411D544F-E526-439E-8451-B7EB5AB4ED95}"/>
              </a:ext>
            </a:extLst>
          </p:cNvPr>
          <p:cNvSpPr/>
          <p:nvPr/>
        </p:nvSpPr>
        <p:spPr>
          <a:xfrm flipV="1">
            <a:off x="7738504" y="3292493"/>
            <a:ext cx="228600" cy="1397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ounded Rectangle 116">
            <a:extLst>
              <a:ext uri="{FF2B5EF4-FFF2-40B4-BE49-F238E27FC236}">
                <a16:creationId xmlns:a16="http://schemas.microsoft.com/office/drawing/2014/main" id="{4CC56CF0-8D53-4E63-A4EE-9E315D88AF35}"/>
              </a:ext>
            </a:extLst>
          </p:cNvPr>
          <p:cNvSpPr/>
          <p:nvPr/>
        </p:nvSpPr>
        <p:spPr>
          <a:xfrm flipV="1">
            <a:off x="8043304" y="3292493"/>
            <a:ext cx="228600" cy="1397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ounded Rectangle 117">
            <a:extLst>
              <a:ext uri="{FF2B5EF4-FFF2-40B4-BE49-F238E27FC236}">
                <a16:creationId xmlns:a16="http://schemas.microsoft.com/office/drawing/2014/main" id="{4369BF05-E2F0-4AE6-8BF9-C5353B16E583}"/>
              </a:ext>
            </a:extLst>
          </p:cNvPr>
          <p:cNvSpPr/>
          <p:nvPr/>
        </p:nvSpPr>
        <p:spPr>
          <a:xfrm flipV="1">
            <a:off x="7433704" y="3521093"/>
            <a:ext cx="228600" cy="1397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ounded Rectangle 118">
            <a:extLst>
              <a:ext uri="{FF2B5EF4-FFF2-40B4-BE49-F238E27FC236}">
                <a16:creationId xmlns:a16="http://schemas.microsoft.com/office/drawing/2014/main" id="{C852B713-28A9-433F-80FA-9FAF0AB0ACB3}"/>
              </a:ext>
            </a:extLst>
          </p:cNvPr>
          <p:cNvSpPr/>
          <p:nvPr/>
        </p:nvSpPr>
        <p:spPr>
          <a:xfrm flipV="1">
            <a:off x="7738504" y="3521093"/>
            <a:ext cx="228600" cy="1397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ounded Rectangle 119">
            <a:extLst>
              <a:ext uri="{FF2B5EF4-FFF2-40B4-BE49-F238E27FC236}">
                <a16:creationId xmlns:a16="http://schemas.microsoft.com/office/drawing/2014/main" id="{03E9EB4A-D4F7-4531-8A8E-A6041D875F41}"/>
              </a:ext>
            </a:extLst>
          </p:cNvPr>
          <p:cNvSpPr/>
          <p:nvPr/>
        </p:nvSpPr>
        <p:spPr>
          <a:xfrm flipV="1">
            <a:off x="8043304" y="3521093"/>
            <a:ext cx="228600" cy="1397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ounded Rectangle 120">
            <a:extLst>
              <a:ext uri="{FF2B5EF4-FFF2-40B4-BE49-F238E27FC236}">
                <a16:creationId xmlns:a16="http://schemas.microsoft.com/office/drawing/2014/main" id="{0372D7E1-EEE6-4873-80EE-637D0F006C12}"/>
              </a:ext>
            </a:extLst>
          </p:cNvPr>
          <p:cNvSpPr/>
          <p:nvPr/>
        </p:nvSpPr>
        <p:spPr>
          <a:xfrm flipV="1">
            <a:off x="7433704" y="3749693"/>
            <a:ext cx="228600" cy="1397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ounded Rectangle 121">
            <a:extLst>
              <a:ext uri="{FF2B5EF4-FFF2-40B4-BE49-F238E27FC236}">
                <a16:creationId xmlns:a16="http://schemas.microsoft.com/office/drawing/2014/main" id="{08F34BE6-521F-4C43-8F00-09053B106208}"/>
              </a:ext>
            </a:extLst>
          </p:cNvPr>
          <p:cNvSpPr/>
          <p:nvPr/>
        </p:nvSpPr>
        <p:spPr>
          <a:xfrm flipV="1">
            <a:off x="7738504" y="3749693"/>
            <a:ext cx="228600" cy="1397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ounded Rectangle 122">
            <a:extLst>
              <a:ext uri="{FF2B5EF4-FFF2-40B4-BE49-F238E27FC236}">
                <a16:creationId xmlns:a16="http://schemas.microsoft.com/office/drawing/2014/main" id="{24F76C48-2F81-40AE-9049-56C57D8BD4A2}"/>
              </a:ext>
            </a:extLst>
          </p:cNvPr>
          <p:cNvSpPr/>
          <p:nvPr/>
        </p:nvSpPr>
        <p:spPr>
          <a:xfrm flipV="1">
            <a:off x="8043304" y="3749693"/>
            <a:ext cx="228600" cy="1397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TextBox 85">
            <a:extLst>
              <a:ext uri="{FF2B5EF4-FFF2-40B4-BE49-F238E27FC236}">
                <a16:creationId xmlns:a16="http://schemas.microsoft.com/office/drawing/2014/main" id="{F6423BC2-9552-4215-B255-E2CB5A7AA48B}"/>
              </a:ext>
            </a:extLst>
          </p:cNvPr>
          <p:cNvSpPr txBox="1"/>
          <p:nvPr/>
        </p:nvSpPr>
        <p:spPr>
          <a:xfrm>
            <a:off x="7592717" y="3896881"/>
            <a:ext cx="533800" cy="169277"/>
          </a:xfrm>
          <a:prstGeom prst="rect">
            <a:avLst/>
          </a:prstGeom>
          <a:noFill/>
        </p:spPr>
        <p:txBody>
          <a:bodyPr wrap="none" lIns="0" tIns="0" rIns="0" bIns="0" rtlCol="0">
            <a:spAutoFit/>
          </a:bodyPr>
          <a:lstStyle/>
          <a:p>
            <a:r>
              <a:rPr lang="en-US" sz="1100" b="1" dirty="0">
                <a:solidFill>
                  <a:schemeClr val="accent1"/>
                </a:solidFill>
              </a:rPr>
              <a:t>Latency</a:t>
            </a:r>
          </a:p>
        </p:txBody>
      </p:sp>
      <p:sp>
        <p:nvSpPr>
          <p:cNvPr id="87" name="Rectangle 86">
            <a:extLst>
              <a:ext uri="{FF2B5EF4-FFF2-40B4-BE49-F238E27FC236}">
                <a16:creationId xmlns:a16="http://schemas.microsoft.com/office/drawing/2014/main" id="{FF472D13-FECB-47EC-8F24-09886EC2D532}"/>
              </a:ext>
            </a:extLst>
          </p:cNvPr>
          <p:cNvSpPr/>
          <p:nvPr/>
        </p:nvSpPr>
        <p:spPr>
          <a:xfrm>
            <a:off x="1111591" y="4207382"/>
            <a:ext cx="7838850" cy="338554"/>
          </a:xfrm>
          <a:prstGeom prst="rect">
            <a:avLst/>
          </a:prstGeom>
        </p:spPr>
        <p:txBody>
          <a:bodyPr wrap="square">
            <a:spAutoFit/>
          </a:bodyPr>
          <a:lstStyle/>
          <a:p>
            <a:r>
              <a:rPr lang="en-US" sz="1600" dirty="0"/>
              <a:t>Based on broker and producer configuration, all semantics are supported.</a:t>
            </a:r>
          </a:p>
        </p:txBody>
      </p:sp>
      <p:pic>
        <p:nvPicPr>
          <p:cNvPr id="88" name="Picture 2" descr="EDEM Escuela de Empresarios, Fundación de la Comunidad Valenciana -  Asociación Valenciana de Fundaciones de la CV">
            <a:extLst>
              <a:ext uri="{FF2B5EF4-FFF2-40B4-BE49-F238E27FC236}">
                <a16:creationId xmlns:a16="http://schemas.microsoft.com/office/drawing/2014/main" id="{1518626C-0760-4BC8-ABE4-05234F13D72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53030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a:t>Kafka Streams</a:t>
            </a:r>
          </a:p>
        </p:txBody>
      </p:sp>
      <p:sp>
        <p:nvSpPr>
          <p:cNvPr id="3" name="Date Placeholder 2"/>
          <p:cNvSpPr>
            <a:spLocks noGrp="1"/>
          </p:cNvSpPr>
          <p:nvPr>
            <p:ph type="dt" sz="half" idx="2"/>
          </p:nvPr>
        </p:nvSpPr>
        <p:spPr/>
        <p:txBody>
          <a:bodyPr/>
          <a:lstStyle/>
          <a:p>
            <a:pPr defTabSz="685800"/>
            <a:fld id="{C0C9140A-8AD1-4D8E-9F46-B47E3C53E85F}" type="datetime1">
              <a:rPr lang="en-GB" smtClean="0"/>
              <a:t>02/12/2021</a:t>
            </a:fld>
            <a:endParaRPr lang="en-GB" dirty="0"/>
          </a:p>
        </p:txBody>
      </p:sp>
      <p:sp>
        <p:nvSpPr>
          <p:cNvPr id="13" name="Text Placeholder 12"/>
          <p:cNvSpPr>
            <a:spLocks noGrp="1"/>
          </p:cNvSpPr>
          <p:nvPr>
            <p:ph type="body" sz="quarter" idx="12"/>
          </p:nvPr>
        </p:nvSpPr>
        <p:spPr/>
        <p:txBody>
          <a:bodyPr/>
          <a:lstStyle/>
          <a:p>
            <a:endParaRPr lang="en-US"/>
          </a:p>
        </p:txBody>
      </p:sp>
      <p:sp>
        <p:nvSpPr>
          <p:cNvPr id="6" name="Footer Placeholder 5"/>
          <p:cNvSpPr>
            <a:spLocks noGrp="1"/>
          </p:cNvSpPr>
          <p:nvPr>
            <p:ph type="ftr" sz="quarter" idx="14"/>
          </p:nvPr>
        </p:nvSpPr>
        <p:spPr/>
        <p:txBody>
          <a:bodyPr/>
          <a:lstStyle/>
          <a:p>
            <a:r>
              <a:rPr lang="en-US"/>
              <a:t>Type here if  add info needed  for every slide</a:t>
            </a:r>
            <a:endParaRPr lang="en-US" dirty="0"/>
          </a:p>
        </p:txBody>
      </p:sp>
      <p:pic>
        <p:nvPicPr>
          <p:cNvPr id="7" name="Picture 2" descr="EDEM Escuela de Empresarios, Fundación de la Comunidad Valenciana -  Asociación Valenciana de Fundaciones de la CV">
            <a:extLst>
              <a:ext uri="{FF2B5EF4-FFF2-40B4-BE49-F238E27FC236}">
                <a16:creationId xmlns:a16="http://schemas.microsoft.com/office/drawing/2014/main" id="{D5FE6998-1E47-4BB0-A3BD-B910F08C6CB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52871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afka Streams</a:t>
            </a:r>
          </a:p>
        </p:txBody>
      </p:sp>
      <p:sp>
        <p:nvSpPr>
          <p:cNvPr id="3" name="Date Placeholder 2"/>
          <p:cNvSpPr>
            <a:spLocks noGrp="1"/>
          </p:cNvSpPr>
          <p:nvPr>
            <p:ph type="dt" sz="half" idx="2"/>
          </p:nvPr>
        </p:nvSpPr>
        <p:spPr/>
        <p:txBody>
          <a:bodyPr/>
          <a:lstStyle/>
          <a:p>
            <a:pPr defTabSz="685800"/>
            <a:fld id="{C0C9140A-8AD1-4D8E-9F46-B47E3C53E85F}" type="datetime1">
              <a:rPr lang="en-GB" smtClean="0"/>
              <a:t>02/12/2021</a:t>
            </a:fld>
            <a:endParaRPr lang="en-GB" dirty="0"/>
          </a:p>
        </p:txBody>
      </p:sp>
      <p:sp>
        <p:nvSpPr>
          <p:cNvPr id="4" name="Text Placeholder 3"/>
          <p:cNvSpPr>
            <a:spLocks noGrp="1"/>
          </p:cNvSpPr>
          <p:nvPr>
            <p:ph type="body" sz="quarter" idx="10"/>
          </p:nvPr>
        </p:nvSpPr>
        <p:spPr>
          <a:xfrm>
            <a:off x="978102" y="1263728"/>
            <a:ext cx="7191375" cy="2157514"/>
          </a:xfrm>
        </p:spPr>
        <p:txBody>
          <a:bodyPr/>
          <a:lstStyle/>
          <a:p>
            <a:r>
              <a:rPr lang="en-US" b="1" dirty="0">
                <a:solidFill>
                  <a:schemeClr val="accent2"/>
                </a:solidFill>
              </a:rPr>
              <a:t>Stream</a:t>
            </a:r>
          </a:p>
          <a:p>
            <a:pPr lvl="1"/>
            <a:r>
              <a:rPr lang="en-US" dirty="0"/>
              <a:t>A </a:t>
            </a:r>
            <a:r>
              <a:rPr lang="en-US" b="1" dirty="0"/>
              <a:t>stream</a:t>
            </a:r>
            <a:r>
              <a:rPr lang="en-US" dirty="0"/>
              <a:t> is the most important abstraction provided by Kafka Streams: </a:t>
            </a:r>
            <a:r>
              <a:rPr lang="en-US" i="1" dirty="0">
                <a:solidFill>
                  <a:schemeClr val="accent2"/>
                </a:solidFill>
              </a:rPr>
              <a:t>it represents an unbounded, continuously updating data set</a:t>
            </a:r>
          </a:p>
          <a:p>
            <a:pPr lvl="1"/>
            <a:r>
              <a:rPr lang="en-US" dirty="0"/>
              <a:t>A </a:t>
            </a:r>
            <a:r>
              <a:rPr lang="en-US" b="1" dirty="0"/>
              <a:t>stream partition</a:t>
            </a:r>
            <a:r>
              <a:rPr lang="en-US" dirty="0"/>
              <a:t> is an, ordered, replayable, and fault-tolerant sequence of immutable data records, where a </a:t>
            </a:r>
            <a:r>
              <a:rPr lang="en-US" b="1" dirty="0"/>
              <a:t>data record</a:t>
            </a:r>
            <a:r>
              <a:rPr lang="en-US" dirty="0"/>
              <a:t> is defined as a key-value pair.</a:t>
            </a:r>
          </a:p>
          <a:p>
            <a:r>
              <a:rPr lang="en-US" b="1" dirty="0">
                <a:solidFill>
                  <a:schemeClr val="accent2"/>
                </a:solidFill>
              </a:rPr>
              <a:t>Stream processing application</a:t>
            </a:r>
            <a:r>
              <a:rPr lang="en-US" dirty="0"/>
              <a:t>  </a:t>
            </a:r>
          </a:p>
          <a:p>
            <a:pPr lvl="1"/>
            <a:r>
              <a:rPr lang="en-US" dirty="0"/>
              <a:t>Any program that makes use of the Kafka Streams library. It may define its computational logic through one or more processor topologies.</a:t>
            </a:r>
          </a:p>
          <a:p>
            <a:br>
              <a:rPr lang="en-US" dirty="0"/>
            </a:br>
            <a:endParaRPr lang="en-US" dirty="0"/>
          </a:p>
        </p:txBody>
      </p:sp>
      <p:sp>
        <p:nvSpPr>
          <p:cNvPr id="5" name="Text Placeholder 4"/>
          <p:cNvSpPr>
            <a:spLocks noGrp="1"/>
          </p:cNvSpPr>
          <p:nvPr>
            <p:ph type="body" sz="quarter" idx="12"/>
          </p:nvPr>
        </p:nvSpPr>
        <p:spPr/>
        <p:txBody>
          <a:bodyPr/>
          <a:lstStyle/>
          <a:p>
            <a:endParaRPr lang="en-US"/>
          </a:p>
        </p:txBody>
      </p:sp>
      <p:sp>
        <p:nvSpPr>
          <p:cNvPr id="6" name="Footer Placeholder 5"/>
          <p:cNvSpPr>
            <a:spLocks noGrp="1"/>
          </p:cNvSpPr>
          <p:nvPr>
            <p:ph type="ftr" sz="quarter" idx="13"/>
          </p:nvPr>
        </p:nvSpPr>
        <p:spPr/>
        <p:txBody>
          <a:bodyPr/>
          <a:lstStyle/>
          <a:p>
            <a:r>
              <a:rPr lang="en-US"/>
              <a:t>Type here if  add info needed  for every slide</a:t>
            </a:r>
            <a:endParaRPr lang="en-US" dirty="0"/>
          </a:p>
        </p:txBody>
      </p:sp>
      <p:pic>
        <p:nvPicPr>
          <p:cNvPr id="7" name="Picture 2" descr="EDEM Escuela de Empresarios, Fundación de la Comunidad Valenciana -  Asociación Valenciana de Fundaciones de la CV">
            <a:extLst>
              <a:ext uri="{FF2B5EF4-FFF2-40B4-BE49-F238E27FC236}">
                <a16:creationId xmlns:a16="http://schemas.microsoft.com/office/drawing/2014/main" id="{2FAAE3BD-BDD8-4820-8DFE-5D4847D1172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02538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afka Streams</a:t>
            </a:r>
          </a:p>
        </p:txBody>
      </p:sp>
      <p:sp>
        <p:nvSpPr>
          <p:cNvPr id="3" name="Date Placeholder 2"/>
          <p:cNvSpPr>
            <a:spLocks noGrp="1"/>
          </p:cNvSpPr>
          <p:nvPr>
            <p:ph type="dt" sz="half" idx="2"/>
          </p:nvPr>
        </p:nvSpPr>
        <p:spPr/>
        <p:txBody>
          <a:bodyPr/>
          <a:lstStyle/>
          <a:p>
            <a:pPr defTabSz="685800"/>
            <a:fld id="{C0C9140A-8AD1-4D8E-9F46-B47E3C53E85F}" type="datetime1">
              <a:rPr lang="en-GB" smtClean="0"/>
              <a:t>02/12/2021</a:t>
            </a:fld>
            <a:endParaRPr lang="en-GB" dirty="0"/>
          </a:p>
        </p:txBody>
      </p:sp>
      <p:sp>
        <p:nvSpPr>
          <p:cNvPr id="5" name="Text Placeholder 4"/>
          <p:cNvSpPr>
            <a:spLocks noGrp="1"/>
          </p:cNvSpPr>
          <p:nvPr>
            <p:ph type="body" sz="quarter" idx="12"/>
          </p:nvPr>
        </p:nvSpPr>
        <p:spPr/>
        <p:txBody>
          <a:bodyPr/>
          <a:lstStyle/>
          <a:p>
            <a:endParaRPr lang="en-US"/>
          </a:p>
        </p:txBody>
      </p:sp>
      <p:sp>
        <p:nvSpPr>
          <p:cNvPr id="6" name="Footer Placeholder 5"/>
          <p:cNvSpPr>
            <a:spLocks noGrp="1"/>
          </p:cNvSpPr>
          <p:nvPr>
            <p:ph type="ftr" sz="quarter" idx="13"/>
          </p:nvPr>
        </p:nvSpPr>
        <p:spPr/>
        <p:txBody>
          <a:bodyPr/>
          <a:lstStyle/>
          <a:p>
            <a:r>
              <a:rPr lang="en-US"/>
              <a:t>Type here if  add info needed  for every slide</a:t>
            </a:r>
            <a:endParaRPr lang="en-US" dirty="0"/>
          </a:p>
        </p:txBody>
      </p:sp>
      <p:grpSp>
        <p:nvGrpSpPr>
          <p:cNvPr id="7" name="Group 6"/>
          <p:cNvGrpSpPr/>
          <p:nvPr/>
        </p:nvGrpSpPr>
        <p:grpSpPr>
          <a:xfrm>
            <a:off x="4422552" y="1567106"/>
            <a:ext cx="4391500" cy="3153385"/>
            <a:chOff x="2028420" y="1046064"/>
            <a:chExt cx="5196608" cy="3731505"/>
          </a:xfrm>
        </p:grpSpPr>
        <p:sp>
          <p:nvSpPr>
            <p:cNvPr id="8" name="Freeform 5"/>
            <p:cNvSpPr>
              <a:spLocks/>
            </p:cNvSpPr>
            <p:nvPr/>
          </p:nvSpPr>
          <p:spPr bwMode="auto">
            <a:xfrm rot="900000">
              <a:off x="5587549" y="1424858"/>
              <a:ext cx="510686" cy="755319"/>
            </a:xfrm>
            <a:custGeom>
              <a:avLst/>
              <a:gdLst>
                <a:gd name="T0" fmla="*/ 841 w 906"/>
                <a:gd name="T1" fmla="*/ 0 h 1340"/>
                <a:gd name="T2" fmla="*/ 906 w 906"/>
                <a:gd name="T3" fmla="*/ 155 h 1340"/>
                <a:gd name="T4" fmla="*/ 831 w 906"/>
                <a:gd name="T5" fmla="*/ 190 h 1340"/>
                <a:gd name="T6" fmla="*/ 760 w 906"/>
                <a:gd name="T7" fmla="*/ 230 h 1340"/>
                <a:gd name="T8" fmla="*/ 692 w 906"/>
                <a:gd name="T9" fmla="*/ 276 h 1340"/>
                <a:gd name="T10" fmla="*/ 629 w 906"/>
                <a:gd name="T11" fmla="*/ 326 h 1340"/>
                <a:gd name="T12" fmla="*/ 571 w 906"/>
                <a:gd name="T13" fmla="*/ 380 h 1340"/>
                <a:gd name="T14" fmla="*/ 517 w 906"/>
                <a:gd name="T15" fmla="*/ 440 h 1340"/>
                <a:gd name="T16" fmla="*/ 467 w 906"/>
                <a:gd name="T17" fmla="*/ 503 h 1340"/>
                <a:gd name="T18" fmla="*/ 423 w 906"/>
                <a:gd name="T19" fmla="*/ 568 h 1340"/>
                <a:gd name="T20" fmla="*/ 385 w 906"/>
                <a:gd name="T21" fmla="*/ 637 h 1340"/>
                <a:gd name="T22" fmla="*/ 352 w 906"/>
                <a:gd name="T23" fmla="*/ 710 h 1340"/>
                <a:gd name="T24" fmla="*/ 325 w 906"/>
                <a:gd name="T25" fmla="*/ 785 h 1340"/>
                <a:gd name="T26" fmla="*/ 302 w 906"/>
                <a:gd name="T27" fmla="*/ 862 h 1340"/>
                <a:gd name="T28" fmla="*/ 287 w 906"/>
                <a:gd name="T29" fmla="*/ 941 h 1340"/>
                <a:gd name="T30" fmla="*/ 277 w 906"/>
                <a:gd name="T31" fmla="*/ 1021 h 1340"/>
                <a:gd name="T32" fmla="*/ 273 w 906"/>
                <a:gd name="T33" fmla="*/ 1102 h 1340"/>
                <a:gd name="T34" fmla="*/ 277 w 906"/>
                <a:gd name="T35" fmla="*/ 1184 h 1340"/>
                <a:gd name="T36" fmla="*/ 387 w 906"/>
                <a:gd name="T37" fmla="*/ 1161 h 1340"/>
                <a:gd name="T38" fmla="*/ 215 w 906"/>
                <a:gd name="T39" fmla="*/ 1340 h 1340"/>
                <a:gd name="T40" fmla="*/ 0 w 906"/>
                <a:gd name="T41" fmla="*/ 1246 h 1340"/>
                <a:gd name="T42" fmla="*/ 110 w 906"/>
                <a:gd name="T43" fmla="*/ 1221 h 1340"/>
                <a:gd name="T44" fmla="*/ 106 w 906"/>
                <a:gd name="T45" fmla="*/ 1173 h 1340"/>
                <a:gd name="T46" fmla="*/ 104 w 906"/>
                <a:gd name="T47" fmla="*/ 1123 h 1340"/>
                <a:gd name="T48" fmla="*/ 104 w 906"/>
                <a:gd name="T49" fmla="*/ 1075 h 1340"/>
                <a:gd name="T50" fmla="*/ 106 w 906"/>
                <a:gd name="T51" fmla="*/ 1027 h 1340"/>
                <a:gd name="T52" fmla="*/ 112 w 906"/>
                <a:gd name="T53" fmla="*/ 979 h 1340"/>
                <a:gd name="T54" fmla="*/ 117 w 906"/>
                <a:gd name="T55" fmla="*/ 931 h 1340"/>
                <a:gd name="T56" fmla="*/ 135 w 906"/>
                <a:gd name="T57" fmla="*/ 839 h 1340"/>
                <a:gd name="T58" fmla="*/ 158 w 906"/>
                <a:gd name="T59" fmla="*/ 747 h 1340"/>
                <a:gd name="T60" fmla="*/ 190 w 906"/>
                <a:gd name="T61" fmla="*/ 658 h 1340"/>
                <a:gd name="T62" fmla="*/ 229 w 906"/>
                <a:gd name="T63" fmla="*/ 572 h 1340"/>
                <a:gd name="T64" fmla="*/ 273 w 906"/>
                <a:gd name="T65" fmla="*/ 489 h 1340"/>
                <a:gd name="T66" fmla="*/ 325 w 906"/>
                <a:gd name="T67" fmla="*/ 411 h 1340"/>
                <a:gd name="T68" fmla="*/ 383 w 906"/>
                <a:gd name="T69" fmla="*/ 338 h 1340"/>
                <a:gd name="T70" fmla="*/ 444 w 906"/>
                <a:gd name="T71" fmla="*/ 267 h 1340"/>
                <a:gd name="T72" fmla="*/ 514 w 906"/>
                <a:gd name="T73" fmla="*/ 202 h 1340"/>
                <a:gd name="T74" fmla="*/ 589 w 906"/>
                <a:gd name="T75" fmla="*/ 142 h 1340"/>
                <a:gd name="T76" fmla="*/ 667 w 906"/>
                <a:gd name="T77" fmla="*/ 88 h 1340"/>
                <a:gd name="T78" fmla="*/ 752 w 906"/>
                <a:gd name="T79" fmla="*/ 40 h 1340"/>
                <a:gd name="T80" fmla="*/ 841 w 906"/>
                <a:gd name="T81" fmla="*/ 0 h 1340"/>
                <a:gd name="T82" fmla="*/ 841 w 906"/>
                <a:gd name="T83" fmla="*/ 0 h 1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06" h="1340">
                  <a:moveTo>
                    <a:pt x="841" y="0"/>
                  </a:moveTo>
                  <a:lnTo>
                    <a:pt x="906" y="155"/>
                  </a:lnTo>
                  <a:lnTo>
                    <a:pt x="831" y="190"/>
                  </a:lnTo>
                  <a:lnTo>
                    <a:pt x="760" y="230"/>
                  </a:lnTo>
                  <a:lnTo>
                    <a:pt x="692" y="276"/>
                  </a:lnTo>
                  <a:lnTo>
                    <a:pt x="629" y="326"/>
                  </a:lnTo>
                  <a:lnTo>
                    <a:pt x="571" y="380"/>
                  </a:lnTo>
                  <a:lnTo>
                    <a:pt x="517" y="440"/>
                  </a:lnTo>
                  <a:lnTo>
                    <a:pt x="467" y="503"/>
                  </a:lnTo>
                  <a:lnTo>
                    <a:pt x="423" y="568"/>
                  </a:lnTo>
                  <a:lnTo>
                    <a:pt x="385" y="637"/>
                  </a:lnTo>
                  <a:lnTo>
                    <a:pt x="352" y="710"/>
                  </a:lnTo>
                  <a:lnTo>
                    <a:pt x="325" y="785"/>
                  </a:lnTo>
                  <a:lnTo>
                    <a:pt x="302" y="862"/>
                  </a:lnTo>
                  <a:lnTo>
                    <a:pt x="287" y="941"/>
                  </a:lnTo>
                  <a:lnTo>
                    <a:pt x="277" y="1021"/>
                  </a:lnTo>
                  <a:lnTo>
                    <a:pt x="273" y="1102"/>
                  </a:lnTo>
                  <a:lnTo>
                    <a:pt x="277" y="1184"/>
                  </a:lnTo>
                  <a:lnTo>
                    <a:pt x="387" y="1161"/>
                  </a:lnTo>
                  <a:lnTo>
                    <a:pt x="215" y="1340"/>
                  </a:lnTo>
                  <a:lnTo>
                    <a:pt x="0" y="1246"/>
                  </a:lnTo>
                  <a:lnTo>
                    <a:pt x="110" y="1221"/>
                  </a:lnTo>
                  <a:lnTo>
                    <a:pt x="106" y="1173"/>
                  </a:lnTo>
                  <a:lnTo>
                    <a:pt x="104" y="1123"/>
                  </a:lnTo>
                  <a:lnTo>
                    <a:pt x="104" y="1075"/>
                  </a:lnTo>
                  <a:lnTo>
                    <a:pt x="106" y="1027"/>
                  </a:lnTo>
                  <a:lnTo>
                    <a:pt x="112" y="979"/>
                  </a:lnTo>
                  <a:lnTo>
                    <a:pt x="117" y="931"/>
                  </a:lnTo>
                  <a:lnTo>
                    <a:pt x="135" y="839"/>
                  </a:lnTo>
                  <a:lnTo>
                    <a:pt x="158" y="747"/>
                  </a:lnTo>
                  <a:lnTo>
                    <a:pt x="190" y="658"/>
                  </a:lnTo>
                  <a:lnTo>
                    <a:pt x="229" y="572"/>
                  </a:lnTo>
                  <a:lnTo>
                    <a:pt x="273" y="489"/>
                  </a:lnTo>
                  <a:lnTo>
                    <a:pt x="325" y="411"/>
                  </a:lnTo>
                  <a:lnTo>
                    <a:pt x="383" y="338"/>
                  </a:lnTo>
                  <a:lnTo>
                    <a:pt x="444" y="267"/>
                  </a:lnTo>
                  <a:lnTo>
                    <a:pt x="514" y="202"/>
                  </a:lnTo>
                  <a:lnTo>
                    <a:pt x="589" y="142"/>
                  </a:lnTo>
                  <a:lnTo>
                    <a:pt x="667" y="88"/>
                  </a:lnTo>
                  <a:lnTo>
                    <a:pt x="752" y="40"/>
                  </a:lnTo>
                  <a:lnTo>
                    <a:pt x="841" y="0"/>
                  </a:lnTo>
                  <a:lnTo>
                    <a:pt x="841" y="0"/>
                  </a:lnTo>
                  <a:close/>
                </a:path>
              </a:pathLst>
            </a:custGeom>
            <a:solidFill>
              <a:srgbClr val="B5CB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5"/>
            <p:cNvSpPr>
              <a:spLocks/>
            </p:cNvSpPr>
            <p:nvPr/>
          </p:nvSpPr>
          <p:spPr bwMode="auto">
            <a:xfrm rot="20700000" flipH="1">
              <a:off x="4494328" y="1424859"/>
              <a:ext cx="512986" cy="755319"/>
            </a:xfrm>
            <a:custGeom>
              <a:avLst/>
              <a:gdLst>
                <a:gd name="T0" fmla="*/ 841 w 906"/>
                <a:gd name="T1" fmla="*/ 0 h 1340"/>
                <a:gd name="T2" fmla="*/ 906 w 906"/>
                <a:gd name="T3" fmla="*/ 155 h 1340"/>
                <a:gd name="T4" fmla="*/ 831 w 906"/>
                <a:gd name="T5" fmla="*/ 190 h 1340"/>
                <a:gd name="T6" fmla="*/ 760 w 906"/>
                <a:gd name="T7" fmla="*/ 230 h 1340"/>
                <a:gd name="T8" fmla="*/ 692 w 906"/>
                <a:gd name="T9" fmla="*/ 276 h 1340"/>
                <a:gd name="T10" fmla="*/ 629 w 906"/>
                <a:gd name="T11" fmla="*/ 326 h 1340"/>
                <a:gd name="T12" fmla="*/ 571 w 906"/>
                <a:gd name="T13" fmla="*/ 380 h 1340"/>
                <a:gd name="T14" fmla="*/ 517 w 906"/>
                <a:gd name="T15" fmla="*/ 440 h 1340"/>
                <a:gd name="T16" fmla="*/ 467 w 906"/>
                <a:gd name="T17" fmla="*/ 503 h 1340"/>
                <a:gd name="T18" fmla="*/ 423 w 906"/>
                <a:gd name="T19" fmla="*/ 568 h 1340"/>
                <a:gd name="T20" fmla="*/ 385 w 906"/>
                <a:gd name="T21" fmla="*/ 637 h 1340"/>
                <a:gd name="T22" fmla="*/ 352 w 906"/>
                <a:gd name="T23" fmla="*/ 710 h 1340"/>
                <a:gd name="T24" fmla="*/ 325 w 906"/>
                <a:gd name="T25" fmla="*/ 785 h 1340"/>
                <a:gd name="T26" fmla="*/ 302 w 906"/>
                <a:gd name="T27" fmla="*/ 862 h 1340"/>
                <a:gd name="T28" fmla="*/ 287 w 906"/>
                <a:gd name="T29" fmla="*/ 941 h 1340"/>
                <a:gd name="T30" fmla="*/ 277 w 906"/>
                <a:gd name="T31" fmla="*/ 1021 h 1340"/>
                <a:gd name="T32" fmla="*/ 273 w 906"/>
                <a:gd name="T33" fmla="*/ 1102 h 1340"/>
                <a:gd name="T34" fmla="*/ 277 w 906"/>
                <a:gd name="T35" fmla="*/ 1184 h 1340"/>
                <a:gd name="T36" fmla="*/ 387 w 906"/>
                <a:gd name="T37" fmla="*/ 1161 h 1340"/>
                <a:gd name="T38" fmla="*/ 215 w 906"/>
                <a:gd name="T39" fmla="*/ 1340 h 1340"/>
                <a:gd name="T40" fmla="*/ 0 w 906"/>
                <a:gd name="T41" fmla="*/ 1246 h 1340"/>
                <a:gd name="T42" fmla="*/ 110 w 906"/>
                <a:gd name="T43" fmla="*/ 1221 h 1340"/>
                <a:gd name="T44" fmla="*/ 106 w 906"/>
                <a:gd name="T45" fmla="*/ 1173 h 1340"/>
                <a:gd name="T46" fmla="*/ 104 w 906"/>
                <a:gd name="T47" fmla="*/ 1123 h 1340"/>
                <a:gd name="T48" fmla="*/ 104 w 906"/>
                <a:gd name="T49" fmla="*/ 1075 h 1340"/>
                <a:gd name="T50" fmla="*/ 106 w 906"/>
                <a:gd name="T51" fmla="*/ 1027 h 1340"/>
                <a:gd name="T52" fmla="*/ 112 w 906"/>
                <a:gd name="T53" fmla="*/ 979 h 1340"/>
                <a:gd name="T54" fmla="*/ 117 w 906"/>
                <a:gd name="T55" fmla="*/ 931 h 1340"/>
                <a:gd name="T56" fmla="*/ 135 w 906"/>
                <a:gd name="T57" fmla="*/ 839 h 1340"/>
                <a:gd name="T58" fmla="*/ 158 w 906"/>
                <a:gd name="T59" fmla="*/ 747 h 1340"/>
                <a:gd name="T60" fmla="*/ 190 w 906"/>
                <a:gd name="T61" fmla="*/ 658 h 1340"/>
                <a:gd name="T62" fmla="*/ 229 w 906"/>
                <a:gd name="T63" fmla="*/ 572 h 1340"/>
                <a:gd name="T64" fmla="*/ 273 w 906"/>
                <a:gd name="T65" fmla="*/ 489 h 1340"/>
                <a:gd name="T66" fmla="*/ 325 w 906"/>
                <a:gd name="T67" fmla="*/ 411 h 1340"/>
                <a:gd name="T68" fmla="*/ 383 w 906"/>
                <a:gd name="T69" fmla="*/ 338 h 1340"/>
                <a:gd name="T70" fmla="*/ 444 w 906"/>
                <a:gd name="T71" fmla="*/ 267 h 1340"/>
                <a:gd name="T72" fmla="*/ 514 w 906"/>
                <a:gd name="T73" fmla="*/ 202 h 1340"/>
                <a:gd name="T74" fmla="*/ 589 w 906"/>
                <a:gd name="T75" fmla="*/ 142 h 1340"/>
                <a:gd name="T76" fmla="*/ 667 w 906"/>
                <a:gd name="T77" fmla="*/ 88 h 1340"/>
                <a:gd name="T78" fmla="*/ 752 w 906"/>
                <a:gd name="T79" fmla="*/ 40 h 1340"/>
                <a:gd name="T80" fmla="*/ 841 w 906"/>
                <a:gd name="T81" fmla="*/ 0 h 1340"/>
                <a:gd name="T82" fmla="*/ 841 w 906"/>
                <a:gd name="T83" fmla="*/ 0 h 1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06" h="1340">
                  <a:moveTo>
                    <a:pt x="841" y="0"/>
                  </a:moveTo>
                  <a:lnTo>
                    <a:pt x="906" y="155"/>
                  </a:lnTo>
                  <a:lnTo>
                    <a:pt x="831" y="190"/>
                  </a:lnTo>
                  <a:lnTo>
                    <a:pt x="760" y="230"/>
                  </a:lnTo>
                  <a:lnTo>
                    <a:pt x="692" y="276"/>
                  </a:lnTo>
                  <a:lnTo>
                    <a:pt x="629" y="326"/>
                  </a:lnTo>
                  <a:lnTo>
                    <a:pt x="571" y="380"/>
                  </a:lnTo>
                  <a:lnTo>
                    <a:pt x="517" y="440"/>
                  </a:lnTo>
                  <a:lnTo>
                    <a:pt x="467" y="503"/>
                  </a:lnTo>
                  <a:lnTo>
                    <a:pt x="423" y="568"/>
                  </a:lnTo>
                  <a:lnTo>
                    <a:pt x="385" y="637"/>
                  </a:lnTo>
                  <a:lnTo>
                    <a:pt x="352" y="710"/>
                  </a:lnTo>
                  <a:lnTo>
                    <a:pt x="325" y="785"/>
                  </a:lnTo>
                  <a:lnTo>
                    <a:pt x="302" y="862"/>
                  </a:lnTo>
                  <a:lnTo>
                    <a:pt x="287" y="941"/>
                  </a:lnTo>
                  <a:lnTo>
                    <a:pt x="277" y="1021"/>
                  </a:lnTo>
                  <a:lnTo>
                    <a:pt x="273" y="1102"/>
                  </a:lnTo>
                  <a:lnTo>
                    <a:pt x="277" y="1184"/>
                  </a:lnTo>
                  <a:lnTo>
                    <a:pt x="387" y="1161"/>
                  </a:lnTo>
                  <a:lnTo>
                    <a:pt x="215" y="1340"/>
                  </a:lnTo>
                  <a:lnTo>
                    <a:pt x="0" y="1246"/>
                  </a:lnTo>
                  <a:lnTo>
                    <a:pt x="110" y="1221"/>
                  </a:lnTo>
                  <a:lnTo>
                    <a:pt x="106" y="1173"/>
                  </a:lnTo>
                  <a:lnTo>
                    <a:pt x="104" y="1123"/>
                  </a:lnTo>
                  <a:lnTo>
                    <a:pt x="104" y="1075"/>
                  </a:lnTo>
                  <a:lnTo>
                    <a:pt x="106" y="1027"/>
                  </a:lnTo>
                  <a:lnTo>
                    <a:pt x="112" y="979"/>
                  </a:lnTo>
                  <a:lnTo>
                    <a:pt x="117" y="931"/>
                  </a:lnTo>
                  <a:lnTo>
                    <a:pt x="135" y="839"/>
                  </a:lnTo>
                  <a:lnTo>
                    <a:pt x="158" y="747"/>
                  </a:lnTo>
                  <a:lnTo>
                    <a:pt x="190" y="658"/>
                  </a:lnTo>
                  <a:lnTo>
                    <a:pt x="229" y="572"/>
                  </a:lnTo>
                  <a:lnTo>
                    <a:pt x="273" y="489"/>
                  </a:lnTo>
                  <a:lnTo>
                    <a:pt x="325" y="411"/>
                  </a:lnTo>
                  <a:lnTo>
                    <a:pt x="383" y="338"/>
                  </a:lnTo>
                  <a:lnTo>
                    <a:pt x="444" y="267"/>
                  </a:lnTo>
                  <a:lnTo>
                    <a:pt x="514" y="202"/>
                  </a:lnTo>
                  <a:lnTo>
                    <a:pt x="589" y="142"/>
                  </a:lnTo>
                  <a:lnTo>
                    <a:pt x="667" y="88"/>
                  </a:lnTo>
                  <a:lnTo>
                    <a:pt x="752" y="40"/>
                  </a:lnTo>
                  <a:lnTo>
                    <a:pt x="841" y="0"/>
                  </a:lnTo>
                  <a:lnTo>
                    <a:pt x="841" y="0"/>
                  </a:lnTo>
                  <a:close/>
                </a:path>
              </a:pathLst>
            </a:custGeom>
            <a:solidFill>
              <a:srgbClr val="B5CB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TextBox 9"/>
            <p:cNvSpPr txBox="1"/>
            <p:nvPr/>
          </p:nvSpPr>
          <p:spPr>
            <a:xfrm>
              <a:off x="4385469" y="4408237"/>
              <a:ext cx="1821845" cy="369332"/>
            </a:xfrm>
            <a:prstGeom prst="rect">
              <a:avLst/>
            </a:prstGeom>
            <a:noFill/>
          </p:spPr>
          <p:txBody>
            <a:bodyPr wrap="none" rtlCol="0">
              <a:spAutoFit/>
            </a:bodyPr>
            <a:lstStyle/>
            <a:p>
              <a:pPr algn="ctr"/>
              <a:r>
                <a:rPr lang="en-US" b="1" dirty="0"/>
                <a:t>Topic - Results</a:t>
              </a:r>
            </a:p>
          </p:txBody>
        </p:sp>
        <p:sp>
          <p:nvSpPr>
            <p:cNvPr id="11" name="Chevron 10"/>
            <p:cNvSpPr/>
            <p:nvPr/>
          </p:nvSpPr>
          <p:spPr>
            <a:xfrm rot="5400000">
              <a:off x="5194196" y="4151204"/>
              <a:ext cx="204387" cy="279581"/>
            </a:xfrm>
            <a:prstGeom prst="chevron">
              <a:avLst/>
            </a:prstGeom>
            <a:solidFill>
              <a:srgbClr val="B5CB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2" name="TextBox 11"/>
            <p:cNvSpPr txBox="1"/>
            <p:nvPr/>
          </p:nvSpPr>
          <p:spPr>
            <a:xfrm>
              <a:off x="3287921" y="1231312"/>
              <a:ext cx="1146404" cy="369332"/>
            </a:xfrm>
            <a:prstGeom prst="rect">
              <a:avLst/>
            </a:prstGeom>
            <a:noFill/>
          </p:spPr>
          <p:txBody>
            <a:bodyPr wrap="none" rtlCol="0">
              <a:spAutoFit/>
            </a:bodyPr>
            <a:lstStyle/>
            <a:p>
              <a:pPr algn="ctr"/>
              <a:r>
                <a:rPr lang="en-US" b="1" dirty="0"/>
                <a:t>Topic - A</a:t>
              </a:r>
            </a:p>
          </p:txBody>
        </p:sp>
        <p:sp>
          <p:nvSpPr>
            <p:cNvPr id="13" name="TextBox 12"/>
            <p:cNvSpPr txBox="1"/>
            <p:nvPr/>
          </p:nvSpPr>
          <p:spPr>
            <a:xfrm>
              <a:off x="6070032" y="1240002"/>
              <a:ext cx="1154996" cy="369332"/>
            </a:xfrm>
            <a:prstGeom prst="rect">
              <a:avLst/>
            </a:prstGeom>
            <a:noFill/>
          </p:spPr>
          <p:txBody>
            <a:bodyPr wrap="none" rtlCol="0">
              <a:spAutoFit/>
            </a:bodyPr>
            <a:lstStyle/>
            <a:p>
              <a:pPr algn="ctr"/>
              <a:r>
                <a:rPr lang="en-US" b="1" dirty="0"/>
                <a:t>Topic - C</a:t>
              </a:r>
            </a:p>
          </p:txBody>
        </p:sp>
        <p:sp>
          <p:nvSpPr>
            <p:cNvPr id="14" name="TextBox 13"/>
            <p:cNvSpPr txBox="1"/>
            <p:nvPr/>
          </p:nvSpPr>
          <p:spPr>
            <a:xfrm>
              <a:off x="4735070" y="1046064"/>
              <a:ext cx="1154996" cy="369332"/>
            </a:xfrm>
            <a:prstGeom prst="rect">
              <a:avLst/>
            </a:prstGeom>
            <a:noFill/>
          </p:spPr>
          <p:txBody>
            <a:bodyPr wrap="none" rtlCol="0">
              <a:spAutoFit/>
            </a:bodyPr>
            <a:lstStyle/>
            <a:p>
              <a:pPr algn="ctr"/>
              <a:r>
                <a:rPr lang="en-US" b="1" dirty="0"/>
                <a:t>Topic - B</a:t>
              </a:r>
            </a:p>
          </p:txBody>
        </p:sp>
        <p:sp>
          <p:nvSpPr>
            <p:cNvPr id="15" name="Right Arrow 14"/>
            <p:cNvSpPr/>
            <p:nvPr/>
          </p:nvSpPr>
          <p:spPr>
            <a:xfrm rot="5400000">
              <a:off x="4945406" y="1687787"/>
              <a:ext cx="704012" cy="240037"/>
            </a:xfrm>
            <a:prstGeom prst="rightArrow">
              <a:avLst>
                <a:gd name="adj1" fmla="val 27456"/>
                <a:gd name="adj2" fmla="val 46243"/>
              </a:avLst>
            </a:prstGeom>
            <a:solidFill>
              <a:srgbClr val="B5CB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16" name="Group 15"/>
            <p:cNvGrpSpPr/>
            <p:nvPr/>
          </p:nvGrpSpPr>
          <p:grpSpPr>
            <a:xfrm>
              <a:off x="4369537" y="2170112"/>
              <a:ext cx="1835362" cy="1946685"/>
              <a:chOff x="2464142" y="1388916"/>
              <a:chExt cx="4215715" cy="4471416"/>
            </a:xfrm>
          </p:grpSpPr>
          <p:sp>
            <p:nvSpPr>
              <p:cNvPr id="20" name="Freeform 19"/>
              <p:cNvSpPr/>
              <p:nvPr/>
            </p:nvSpPr>
            <p:spPr>
              <a:xfrm rot="10800000">
                <a:off x="3303829" y="3027343"/>
                <a:ext cx="2536675" cy="1539976"/>
              </a:xfrm>
              <a:custGeom>
                <a:avLst/>
                <a:gdLst>
                  <a:gd name="connsiteX0" fmla="*/ 675787 w 2729264"/>
                  <a:gd name="connsiteY0" fmla="*/ 27848 h 3589212"/>
                  <a:gd name="connsiteX1" fmla="*/ 674667 w 2729264"/>
                  <a:gd name="connsiteY1" fmla="*/ 1 h 3589212"/>
                  <a:gd name="connsiteX2" fmla="*/ 674667 w 2729264"/>
                  <a:gd name="connsiteY2" fmla="*/ 0 h 3589212"/>
                  <a:gd name="connsiteX3" fmla="*/ 666652 w 2729264"/>
                  <a:gd name="connsiteY3" fmla="*/ 458134 h 3589212"/>
                  <a:gd name="connsiteX4" fmla="*/ 671715 w 2729264"/>
                  <a:gd name="connsiteY4" fmla="*/ 353342 h 3589212"/>
                  <a:gd name="connsiteX5" fmla="*/ 671317 w 2729264"/>
                  <a:gd name="connsiteY5" fmla="*/ 383685 h 3589212"/>
                  <a:gd name="connsiteX6" fmla="*/ 2062612 w 2729264"/>
                  <a:gd name="connsiteY6" fmla="*/ 458136 h 3589212"/>
                  <a:gd name="connsiteX7" fmla="*/ 2057947 w 2729264"/>
                  <a:gd name="connsiteY7" fmla="*/ 383685 h 3589212"/>
                  <a:gd name="connsiteX8" fmla="*/ 2057549 w 2729264"/>
                  <a:gd name="connsiteY8" fmla="*/ 353342 h 3589212"/>
                  <a:gd name="connsiteX9" fmla="*/ 641136 w 2729264"/>
                  <a:gd name="connsiteY9" fmla="*/ 820262 h 3589212"/>
                  <a:gd name="connsiteX10" fmla="*/ 651656 w 2729264"/>
                  <a:gd name="connsiteY10" fmla="*/ 697494 h 3589212"/>
                  <a:gd name="connsiteX11" fmla="*/ 647879 w 2729264"/>
                  <a:gd name="connsiteY11" fmla="*/ 757765 h 3589212"/>
                  <a:gd name="connsiteX12" fmla="*/ 2088129 w 2729264"/>
                  <a:gd name="connsiteY12" fmla="*/ 820270 h 3589212"/>
                  <a:gd name="connsiteX13" fmla="*/ 2081385 w 2729264"/>
                  <a:gd name="connsiteY13" fmla="*/ 757765 h 3589212"/>
                  <a:gd name="connsiteX14" fmla="*/ 2077608 w 2729264"/>
                  <a:gd name="connsiteY14" fmla="*/ 697489 h 3589212"/>
                  <a:gd name="connsiteX15" fmla="*/ 600203 w 2729264"/>
                  <a:gd name="connsiteY15" fmla="*/ 1185907 h 3589212"/>
                  <a:gd name="connsiteX16" fmla="*/ 613996 w 2729264"/>
                  <a:gd name="connsiteY16" fmla="*/ 1071790 h 3589212"/>
                  <a:gd name="connsiteX17" fmla="*/ 605437 w 2729264"/>
                  <a:gd name="connsiteY17" fmla="*/ 1151111 h 3589212"/>
                  <a:gd name="connsiteX18" fmla="*/ 2129063 w 2729264"/>
                  <a:gd name="connsiteY18" fmla="*/ 1185922 h 3589212"/>
                  <a:gd name="connsiteX19" fmla="*/ 2123827 w 2729264"/>
                  <a:gd name="connsiteY19" fmla="*/ 1151111 h 3589212"/>
                  <a:gd name="connsiteX20" fmla="*/ 2115265 w 2729264"/>
                  <a:gd name="connsiteY20" fmla="*/ 1071764 h 3589212"/>
                  <a:gd name="connsiteX21" fmla="*/ 500147 w 2729264"/>
                  <a:gd name="connsiteY21" fmla="*/ 1794014 h 3589212"/>
                  <a:gd name="connsiteX22" fmla="*/ 500147 w 2729264"/>
                  <a:gd name="connsiteY22" fmla="*/ 1794014 h 3589212"/>
                  <a:gd name="connsiteX23" fmla="*/ 500587 w 2729264"/>
                  <a:gd name="connsiteY23" fmla="*/ 1791664 h 3589212"/>
                  <a:gd name="connsiteX24" fmla="*/ 500587 w 2729264"/>
                  <a:gd name="connsiteY24" fmla="*/ 1791665 h 3589212"/>
                  <a:gd name="connsiteX25" fmla="*/ 18617 w 2729264"/>
                  <a:gd name="connsiteY25" fmla="*/ 3538163 h 3589212"/>
                  <a:gd name="connsiteX26" fmla="*/ 78567 w 2729264"/>
                  <a:gd name="connsiteY26" fmla="*/ 3373781 h 3589212"/>
                  <a:gd name="connsiteX27" fmla="*/ 316390 w 2729264"/>
                  <a:gd name="connsiteY27" fmla="*/ 2594875 h 3589212"/>
                  <a:gd name="connsiteX28" fmla="*/ 480535 w 2729264"/>
                  <a:gd name="connsiteY28" fmla="*/ 1898740 h 3589212"/>
                  <a:gd name="connsiteX29" fmla="*/ 500147 w 2729264"/>
                  <a:gd name="connsiteY29" fmla="*/ 1794014 h 3589212"/>
                  <a:gd name="connsiteX30" fmla="*/ 501361 w 2729264"/>
                  <a:gd name="connsiteY30" fmla="*/ 1794014 h 3589212"/>
                  <a:gd name="connsiteX31" fmla="*/ 500587 w 2729264"/>
                  <a:gd name="connsiteY31" fmla="*/ 1791665 h 3589212"/>
                  <a:gd name="connsiteX32" fmla="*/ 500751 w 2729264"/>
                  <a:gd name="connsiteY32" fmla="*/ 1790790 h 3589212"/>
                  <a:gd name="connsiteX33" fmla="*/ 518081 w 2729264"/>
                  <a:gd name="connsiteY33" fmla="*/ 1738187 h 3589212"/>
                  <a:gd name="connsiteX34" fmla="*/ 1364633 w 2729264"/>
                  <a:gd name="connsiteY34" fmla="*/ 1527062 h 3589212"/>
                  <a:gd name="connsiteX35" fmla="*/ 2211185 w 2729264"/>
                  <a:gd name="connsiteY35" fmla="*/ 1738187 h 3589212"/>
                  <a:gd name="connsiteX36" fmla="*/ 2228511 w 2729264"/>
                  <a:gd name="connsiteY36" fmla="*/ 1790777 h 3589212"/>
                  <a:gd name="connsiteX37" fmla="*/ 2185466 w 2729264"/>
                  <a:gd name="connsiteY37" fmla="*/ 1560921 h 3589212"/>
                  <a:gd name="connsiteX38" fmla="*/ 2185440 w 2729264"/>
                  <a:gd name="connsiteY38" fmla="*/ 1560748 h 3589212"/>
                  <a:gd name="connsiteX39" fmla="*/ 2185467 w 2729264"/>
                  <a:gd name="connsiteY39" fmla="*/ 1560920 h 3589212"/>
                  <a:gd name="connsiteX40" fmla="*/ 2228678 w 2729264"/>
                  <a:gd name="connsiteY40" fmla="*/ 1791667 h 3589212"/>
                  <a:gd name="connsiteX41" fmla="*/ 2227904 w 2729264"/>
                  <a:gd name="connsiteY41" fmla="*/ 1794014 h 3589212"/>
                  <a:gd name="connsiteX42" fmla="*/ 2229117 w 2729264"/>
                  <a:gd name="connsiteY42" fmla="*/ 1794014 h 3589212"/>
                  <a:gd name="connsiteX43" fmla="*/ 2228777 w 2729264"/>
                  <a:gd name="connsiteY43" fmla="*/ 1792197 h 3589212"/>
                  <a:gd name="connsiteX44" fmla="*/ 2248729 w 2729264"/>
                  <a:gd name="connsiteY44" fmla="*/ 1898740 h 3589212"/>
                  <a:gd name="connsiteX45" fmla="*/ 2412874 w 2729264"/>
                  <a:gd name="connsiteY45" fmla="*/ 2594875 h 3589212"/>
                  <a:gd name="connsiteX46" fmla="*/ 2650697 w 2729264"/>
                  <a:gd name="connsiteY46" fmla="*/ 3373781 h 3589212"/>
                  <a:gd name="connsiteX47" fmla="*/ 2710643 w 2729264"/>
                  <a:gd name="connsiteY47" fmla="*/ 3538154 h 3589212"/>
                  <a:gd name="connsiteX48" fmla="*/ 2694930 w 2729264"/>
                  <a:gd name="connsiteY48" fmla="*/ 3510421 h 3589212"/>
                  <a:gd name="connsiteX49" fmla="*/ 1364633 w 2729264"/>
                  <a:gd name="connsiteY49" fmla="*/ 3218374 h 3589212"/>
                  <a:gd name="connsiteX50" fmla="*/ 34336 w 2729264"/>
                  <a:gd name="connsiteY50" fmla="*/ 3510421 h 3589212"/>
                  <a:gd name="connsiteX51" fmla="*/ 8649 w 2729264"/>
                  <a:gd name="connsiteY51" fmla="*/ 3589212 h 3589212"/>
                  <a:gd name="connsiteX52" fmla="*/ 0 w 2729264"/>
                  <a:gd name="connsiteY52" fmla="*/ 3589212 h 3589212"/>
                  <a:gd name="connsiteX53" fmla="*/ 11929 w 2729264"/>
                  <a:gd name="connsiteY53" fmla="*/ 3556504 h 3589212"/>
                  <a:gd name="connsiteX54" fmla="*/ 6749 w 2729264"/>
                  <a:gd name="connsiteY54" fmla="*/ 3584134 h 3589212"/>
                  <a:gd name="connsiteX55" fmla="*/ 2729264 w 2729264"/>
                  <a:gd name="connsiteY55" fmla="*/ 3589212 h 3589212"/>
                  <a:gd name="connsiteX56" fmla="*/ 2720616 w 2729264"/>
                  <a:gd name="connsiteY56" fmla="*/ 3589212 h 3589212"/>
                  <a:gd name="connsiteX57" fmla="*/ 2722517 w 2729264"/>
                  <a:gd name="connsiteY57" fmla="*/ 3584134 h 3589212"/>
                  <a:gd name="connsiteX58" fmla="*/ 2717339 w 2729264"/>
                  <a:gd name="connsiteY58" fmla="*/ 3556515 h 3589212"/>
                  <a:gd name="connsiteX0" fmla="*/ 674667 w 2729264"/>
                  <a:gd name="connsiteY0" fmla="*/ 0 h 3589212"/>
                  <a:gd name="connsiteX1" fmla="*/ 674667 w 2729264"/>
                  <a:gd name="connsiteY1" fmla="*/ 1 h 3589212"/>
                  <a:gd name="connsiteX2" fmla="*/ 674667 w 2729264"/>
                  <a:gd name="connsiteY2" fmla="*/ 0 h 3589212"/>
                  <a:gd name="connsiteX3" fmla="*/ 666652 w 2729264"/>
                  <a:gd name="connsiteY3" fmla="*/ 458134 h 3589212"/>
                  <a:gd name="connsiteX4" fmla="*/ 671715 w 2729264"/>
                  <a:gd name="connsiteY4" fmla="*/ 353342 h 3589212"/>
                  <a:gd name="connsiteX5" fmla="*/ 671317 w 2729264"/>
                  <a:gd name="connsiteY5" fmla="*/ 383685 h 3589212"/>
                  <a:gd name="connsiteX6" fmla="*/ 666652 w 2729264"/>
                  <a:gd name="connsiteY6" fmla="*/ 458134 h 3589212"/>
                  <a:gd name="connsiteX7" fmla="*/ 2062612 w 2729264"/>
                  <a:gd name="connsiteY7" fmla="*/ 458136 h 3589212"/>
                  <a:gd name="connsiteX8" fmla="*/ 2057947 w 2729264"/>
                  <a:gd name="connsiteY8" fmla="*/ 383685 h 3589212"/>
                  <a:gd name="connsiteX9" fmla="*/ 2057549 w 2729264"/>
                  <a:gd name="connsiteY9" fmla="*/ 353342 h 3589212"/>
                  <a:gd name="connsiteX10" fmla="*/ 2062612 w 2729264"/>
                  <a:gd name="connsiteY10" fmla="*/ 458136 h 3589212"/>
                  <a:gd name="connsiteX11" fmla="*/ 641136 w 2729264"/>
                  <a:gd name="connsiteY11" fmla="*/ 820262 h 3589212"/>
                  <a:gd name="connsiteX12" fmla="*/ 651656 w 2729264"/>
                  <a:gd name="connsiteY12" fmla="*/ 697494 h 3589212"/>
                  <a:gd name="connsiteX13" fmla="*/ 647879 w 2729264"/>
                  <a:gd name="connsiteY13" fmla="*/ 757765 h 3589212"/>
                  <a:gd name="connsiteX14" fmla="*/ 641136 w 2729264"/>
                  <a:gd name="connsiteY14" fmla="*/ 820262 h 3589212"/>
                  <a:gd name="connsiteX15" fmla="*/ 2088129 w 2729264"/>
                  <a:gd name="connsiteY15" fmla="*/ 820270 h 3589212"/>
                  <a:gd name="connsiteX16" fmla="*/ 2081385 w 2729264"/>
                  <a:gd name="connsiteY16" fmla="*/ 757765 h 3589212"/>
                  <a:gd name="connsiteX17" fmla="*/ 2077608 w 2729264"/>
                  <a:gd name="connsiteY17" fmla="*/ 697489 h 3589212"/>
                  <a:gd name="connsiteX18" fmla="*/ 2088129 w 2729264"/>
                  <a:gd name="connsiteY18" fmla="*/ 820270 h 3589212"/>
                  <a:gd name="connsiteX19" fmla="*/ 600203 w 2729264"/>
                  <a:gd name="connsiteY19" fmla="*/ 1185907 h 3589212"/>
                  <a:gd name="connsiteX20" fmla="*/ 613996 w 2729264"/>
                  <a:gd name="connsiteY20" fmla="*/ 1071790 h 3589212"/>
                  <a:gd name="connsiteX21" fmla="*/ 605437 w 2729264"/>
                  <a:gd name="connsiteY21" fmla="*/ 1151111 h 3589212"/>
                  <a:gd name="connsiteX22" fmla="*/ 600203 w 2729264"/>
                  <a:gd name="connsiteY22" fmla="*/ 1185907 h 3589212"/>
                  <a:gd name="connsiteX23" fmla="*/ 2129063 w 2729264"/>
                  <a:gd name="connsiteY23" fmla="*/ 1185922 h 3589212"/>
                  <a:gd name="connsiteX24" fmla="*/ 2123827 w 2729264"/>
                  <a:gd name="connsiteY24" fmla="*/ 1151111 h 3589212"/>
                  <a:gd name="connsiteX25" fmla="*/ 2115265 w 2729264"/>
                  <a:gd name="connsiteY25" fmla="*/ 1071764 h 3589212"/>
                  <a:gd name="connsiteX26" fmla="*/ 2129063 w 2729264"/>
                  <a:gd name="connsiteY26" fmla="*/ 1185922 h 3589212"/>
                  <a:gd name="connsiteX27" fmla="*/ 500147 w 2729264"/>
                  <a:gd name="connsiteY27" fmla="*/ 1794014 h 3589212"/>
                  <a:gd name="connsiteX28" fmla="*/ 500147 w 2729264"/>
                  <a:gd name="connsiteY28" fmla="*/ 1794014 h 3589212"/>
                  <a:gd name="connsiteX29" fmla="*/ 500587 w 2729264"/>
                  <a:gd name="connsiteY29" fmla="*/ 1791664 h 3589212"/>
                  <a:gd name="connsiteX30" fmla="*/ 500587 w 2729264"/>
                  <a:gd name="connsiteY30" fmla="*/ 1791665 h 3589212"/>
                  <a:gd name="connsiteX31" fmla="*/ 500147 w 2729264"/>
                  <a:gd name="connsiteY31" fmla="*/ 1794014 h 3589212"/>
                  <a:gd name="connsiteX32" fmla="*/ 18617 w 2729264"/>
                  <a:gd name="connsiteY32" fmla="*/ 3538163 h 3589212"/>
                  <a:gd name="connsiteX33" fmla="*/ 78567 w 2729264"/>
                  <a:gd name="connsiteY33" fmla="*/ 3373781 h 3589212"/>
                  <a:gd name="connsiteX34" fmla="*/ 316390 w 2729264"/>
                  <a:gd name="connsiteY34" fmla="*/ 2594875 h 3589212"/>
                  <a:gd name="connsiteX35" fmla="*/ 480535 w 2729264"/>
                  <a:gd name="connsiteY35" fmla="*/ 1898740 h 3589212"/>
                  <a:gd name="connsiteX36" fmla="*/ 500147 w 2729264"/>
                  <a:gd name="connsiteY36" fmla="*/ 1794014 h 3589212"/>
                  <a:gd name="connsiteX37" fmla="*/ 501361 w 2729264"/>
                  <a:gd name="connsiteY37" fmla="*/ 1794014 h 3589212"/>
                  <a:gd name="connsiteX38" fmla="*/ 500587 w 2729264"/>
                  <a:gd name="connsiteY38" fmla="*/ 1791665 h 3589212"/>
                  <a:gd name="connsiteX39" fmla="*/ 500751 w 2729264"/>
                  <a:gd name="connsiteY39" fmla="*/ 1790790 h 3589212"/>
                  <a:gd name="connsiteX40" fmla="*/ 518081 w 2729264"/>
                  <a:gd name="connsiteY40" fmla="*/ 1738187 h 3589212"/>
                  <a:gd name="connsiteX41" fmla="*/ 1364633 w 2729264"/>
                  <a:gd name="connsiteY41" fmla="*/ 1527062 h 3589212"/>
                  <a:gd name="connsiteX42" fmla="*/ 2211185 w 2729264"/>
                  <a:gd name="connsiteY42" fmla="*/ 1738187 h 3589212"/>
                  <a:gd name="connsiteX43" fmla="*/ 2228511 w 2729264"/>
                  <a:gd name="connsiteY43" fmla="*/ 1790777 h 3589212"/>
                  <a:gd name="connsiteX44" fmla="*/ 2185466 w 2729264"/>
                  <a:gd name="connsiteY44" fmla="*/ 1560921 h 3589212"/>
                  <a:gd name="connsiteX45" fmla="*/ 2185440 w 2729264"/>
                  <a:gd name="connsiteY45" fmla="*/ 1560748 h 3589212"/>
                  <a:gd name="connsiteX46" fmla="*/ 2185467 w 2729264"/>
                  <a:gd name="connsiteY46" fmla="*/ 1560920 h 3589212"/>
                  <a:gd name="connsiteX47" fmla="*/ 2228678 w 2729264"/>
                  <a:gd name="connsiteY47" fmla="*/ 1791667 h 3589212"/>
                  <a:gd name="connsiteX48" fmla="*/ 2227904 w 2729264"/>
                  <a:gd name="connsiteY48" fmla="*/ 1794014 h 3589212"/>
                  <a:gd name="connsiteX49" fmla="*/ 2229117 w 2729264"/>
                  <a:gd name="connsiteY49" fmla="*/ 1794014 h 3589212"/>
                  <a:gd name="connsiteX50" fmla="*/ 2228777 w 2729264"/>
                  <a:gd name="connsiteY50" fmla="*/ 1792197 h 3589212"/>
                  <a:gd name="connsiteX51" fmla="*/ 2248729 w 2729264"/>
                  <a:gd name="connsiteY51" fmla="*/ 1898740 h 3589212"/>
                  <a:gd name="connsiteX52" fmla="*/ 2412874 w 2729264"/>
                  <a:gd name="connsiteY52" fmla="*/ 2594875 h 3589212"/>
                  <a:gd name="connsiteX53" fmla="*/ 2650697 w 2729264"/>
                  <a:gd name="connsiteY53" fmla="*/ 3373781 h 3589212"/>
                  <a:gd name="connsiteX54" fmla="*/ 2710643 w 2729264"/>
                  <a:gd name="connsiteY54" fmla="*/ 3538154 h 3589212"/>
                  <a:gd name="connsiteX55" fmla="*/ 2694930 w 2729264"/>
                  <a:gd name="connsiteY55" fmla="*/ 3510421 h 3589212"/>
                  <a:gd name="connsiteX56" fmla="*/ 1364633 w 2729264"/>
                  <a:gd name="connsiteY56" fmla="*/ 3218374 h 3589212"/>
                  <a:gd name="connsiteX57" fmla="*/ 34336 w 2729264"/>
                  <a:gd name="connsiteY57" fmla="*/ 3510421 h 3589212"/>
                  <a:gd name="connsiteX58" fmla="*/ 18617 w 2729264"/>
                  <a:gd name="connsiteY58" fmla="*/ 3538163 h 3589212"/>
                  <a:gd name="connsiteX59" fmla="*/ 8649 w 2729264"/>
                  <a:gd name="connsiteY59" fmla="*/ 3589212 h 3589212"/>
                  <a:gd name="connsiteX60" fmla="*/ 0 w 2729264"/>
                  <a:gd name="connsiteY60" fmla="*/ 3589212 h 3589212"/>
                  <a:gd name="connsiteX61" fmla="*/ 11929 w 2729264"/>
                  <a:gd name="connsiteY61" fmla="*/ 3556504 h 3589212"/>
                  <a:gd name="connsiteX62" fmla="*/ 6749 w 2729264"/>
                  <a:gd name="connsiteY62" fmla="*/ 3584134 h 3589212"/>
                  <a:gd name="connsiteX63" fmla="*/ 8649 w 2729264"/>
                  <a:gd name="connsiteY63" fmla="*/ 3589212 h 3589212"/>
                  <a:gd name="connsiteX64" fmla="*/ 2729264 w 2729264"/>
                  <a:gd name="connsiteY64" fmla="*/ 3589212 h 3589212"/>
                  <a:gd name="connsiteX65" fmla="*/ 2720616 w 2729264"/>
                  <a:gd name="connsiteY65" fmla="*/ 3589212 h 3589212"/>
                  <a:gd name="connsiteX66" fmla="*/ 2722517 w 2729264"/>
                  <a:gd name="connsiteY66" fmla="*/ 3584134 h 3589212"/>
                  <a:gd name="connsiteX67" fmla="*/ 2717339 w 2729264"/>
                  <a:gd name="connsiteY67" fmla="*/ 3556515 h 3589212"/>
                  <a:gd name="connsiteX68" fmla="*/ 2729264 w 2729264"/>
                  <a:gd name="connsiteY68" fmla="*/ 3589212 h 3589212"/>
                  <a:gd name="connsiteX0" fmla="*/ 674667 w 2729264"/>
                  <a:gd name="connsiteY0" fmla="*/ 0 h 3589212"/>
                  <a:gd name="connsiteX1" fmla="*/ 674667 w 2729264"/>
                  <a:gd name="connsiteY1" fmla="*/ 1 h 3589212"/>
                  <a:gd name="connsiteX2" fmla="*/ 674667 w 2729264"/>
                  <a:gd name="connsiteY2" fmla="*/ 0 h 3589212"/>
                  <a:gd name="connsiteX3" fmla="*/ 666652 w 2729264"/>
                  <a:gd name="connsiteY3" fmla="*/ 458134 h 3589212"/>
                  <a:gd name="connsiteX4" fmla="*/ 671317 w 2729264"/>
                  <a:gd name="connsiteY4" fmla="*/ 383685 h 3589212"/>
                  <a:gd name="connsiteX5" fmla="*/ 666652 w 2729264"/>
                  <a:gd name="connsiteY5" fmla="*/ 458134 h 3589212"/>
                  <a:gd name="connsiteX6" fmla="*/ 2062612 w 2729264"/>
                  <a:gd name="connsiteY6" fmla="*/ 458136 h 3589212"/>
                  <a:gd name="connsiteX7" fmla="*/ 2057947 w 2729264"/>
                  <a:gd name="connsiteY7" fmla="*/ 383685 h 3589212"/>
                  <a:gd name="connsiteX8" fmla="*/ 2057549 w 2729264"/>
                  <a:gd name="connsiteY8" fmla="*/ 353342 h 3589212"/>
                  <a:gd name="connsiteX9" fmla="*/ 2062612 w 2729264"/>
                  <a:gd name="connsiteY9" fmla="*/ 458136 h 3589212"/>
                  <a:gd name="connsiteX10" fmla="*/ 641136 w 2729264"/>
                  <a:gd name="connsiteY10" fmla="*/ 820262 h 3589212"/>
                  <a:gd name="connsiteX11" fmla="*/ 651656 w 2729264"/>
                  <a:gd name="connsiteY11" fmla="*/ 697494 h 3589212"/>
                  <a:gd name="connsiteX12" fmla="*/ 647879 w 2729264"/>
                  <a:gd name="connsiteY12" fmla="*/ 757765 h 3589212"/>
                  <a:gd name="connsiteX13" fmla="*/ 641136 w 2729264"/>
                  <a:gd name="connsiteY13" fmla="*/ 820262 h 3589212"/>
                  <a:gd name="connsiteX14" fmla="*/ 2088129 w 2729264"/>
                  <a:gd name="connsiteY14" fmla="*/ 820270 h 3589212"/>
                  <a:gd name="connsiteX15" fmla="*/ 2081385 w 2729264"/>
                  <a:gd name="connsiteY15" fmla="*/ 757765 h 3589212"/>
                  <a:gd name="connsiteX16" fmla="*/ 2077608 w 2729264"/>
                  <a:gd name="connsiteY16" fmla="*/ 697489 h 3589212"/>
                  <a:gd name="connsiteX17" fmla="*/ 2088129 w 2729264"/>
                  <a:gd name="connsiteY17" fmla="*/ 820270 h 3589212"/>
                  <a:gd name="connsiteX18" fmla="*/ 600203 w 2729264"/>
                  <a:gd name="connsiteY18" fmla="*/ 1185907 h 3589212"/>
                  <a:gd name="connsiteX19" fmla="*/ 613996 w 2729264"/>
                  <a:gd name="connsiteY19" fmla="*/ 1071790 h 3589212"/>
                  <a:gd name="connsiteX20" fmla="*/ 605437 w 2729264"/>
                  <a:gd name="connsiteY20" fmla="*/ 1151111 h 3589212"/>
                  <a:gd name="connsiteX21" fmla="*/ 600203 w 2729264"/>
                  <a:gd name="connsiteY21" fmla="*/ 1185907 h 3589212"/>
                  <a:gd name="connsiteX22" fmla="*/ 2129063 w 2729264"/>
                  <a:gd name="connsiteY22" fmla="*/ 1185922 h 3589212"/>
                  <a:gd name="connsiteX23" fmla="*/ 2123827 w 2729264"/>
                  <a:gd name="connsiteY23" fmla="*/ 1151111 h 3589212"/>
                  <a:gd name="connsiteX24" fmla="*/ 2115265 w 2729264"/>
                  <a:gd name="connsiteY24" fmla="*/ 1071764 h 3589212"/>
                  <a:gd name="connsiteX25" fmla="*/ 2129063 w 2729264"/>
                  <a:gd name="connsiteY25" fmla="*/ 1185922 h 3589212"/>
                  <a:gd name="connsiteX26" fmla="*/ 500147 w 2729264"/>
                  <a:gd name="connsiteY26" fmla="*/ 1794014 h 3589212"/>
                  <a:gd name="connsiteX27" fmla="*/ 500147 w 2729264"/>
                  <a:gd name="connsiteY27" fmla="*/ 1794014 h 3589212"/>
                  <a:gd name="connsiteX28" fmla="*/ 500587 w 2729264"/>
                  <a:gd name="connsiteY28" fmla="*/ 1791664 h 3589212"/>
                  <a:gd name="connsiteX29" fmla="*/ 500587 w 2729264"/>
                  <a:gd name="connsiteY29" fmla="*/ 1791665 h 3589212"/>
                  <a:gd name="connsiteX30" fmla="*/ 500147 w 2729264"/>
                  <a:gd name="connsiteY30" fmla="*/ 1794014 h 3589212"/>
                  <a:gd name="connsiteX31" fmla="*/ 18617 w 2729264"/>
                  <a:gd name="connsiteY31" fmla="*/ 3538163 h 3589212"/>
                  <a:gd name="connsiteX32" fmla="*/ 78567 w 2729264"/>
                  <a:gd name="connsiteY32" fmla="*/ 3373781 h 3589212"/>
                  <a:gd name="connsiteX33" fmla="*/ 316390 w 2729264"/>
                  <a:gd name="connsiteY33" fmla="*/ 2594875 h 3589212"/>
                  <a:gd name="connsiteX34" fmla="*/ 480535 w 2729264"/>
                  <a:gd name="connsiteY34" fmla="*/ 1898740 h 3589212"/>
                  <a:gd name="connsiteX35" fmla="*/ 500147 w 2729264"/>
                  <a:gd name="connsiteY35" fmla="*/ 1794014 h 3589212"/>
                  <a:gd name="connsiteX36" fmla="*/ 501361 w 2729264"/>
                  <a:gd name="connsiteY36" fmla="*/ 1794014 h 3589212"/>
                  <a:gd name="connsiteX37" fmla="*/ 500587 w 2729264"/>
                  <a:gd name="connsiteY37" fmla="*/ 1791665 h 3589212"/>
                  <a:gd name="connsiteX38" fmla="*/ 500751 w 2729264"/>
                  <a:gd name="connsiteY38" fmla="*/ 1790790 h 3589212"/>
                  <a:gd name="connsiteX39" fmla="*/ 518081 w 2729264"/>
                  <a:gd name="connsiteY39" fmla="*/ 1738187 h 3589212"/>
                  <a:gd name="connsiteX40" fmla="*/ 1364633 w 2729264"/>
                  <a:gd name="connsiteY40" fmla="*/ 1527062 h 3589212"/>
                  <a:gd name="connsiteX41" fmla="*/ 2211185 w 2729264"/>
                  <a:gd name="connsiteY41" fmla="*/ 1738187 h 3589212"/>
                  <a:gd name="connsiteX42" fmla="*/ 2228511 w 2729264"/>
                  <a:gd name="connsiteY42" fmla="*/ 1790777 h 3589212"/>
                  <a:gd name="connsiteX43" fmla="*/ 2185466 w 2729264"/>
                  <a:gd name="connsiteY43" fmla="*/ 1560921 h 3589212"/>
                  <a:gd name="connsiteX44" fmla="*/ 2185440 w 2729264"/>
                  <a:gd name="connsiteY44" fmla="*/ 1560748 h 3589212"/>
                  <a:gd name="connsiteX45" fmla="*/ 2185467 w 2729264"/>
                  <a:gd name="connsiteY45" fmla="*/ 1560920 h 3589212"/>
                  <a:gd name="connsiteX46" fmla="*/ 2228678 w 2729264"/>
                  <a:gd name="connsiteY46" fmla="*/ 1791667 h 3589212"/>
                  <a:gd name="connsiteX47" fmla="*/ 2227904 w 2729264"/>
                  <a:gd name="connsiteY47" fmla="*/ 1794014 h 3589212"/>
                  <a:gd name="connsiteX48" fmla="*/ 2229117 w 2729264"/>
                  <a:gd name="connsiteY48" fmla="*/ 1794014 h 3589212"/>
                  <a:gd name="connsiteX49" fmla="*/ 2228777 w 2729264"/>
                  <a:gd name="connsiteY49" fmla="*/ 1792197 h 3589212"/>
                  <a:gd name="connsiteX50" fmla="*/ 2248729 w 2729264"/>
                  <a:gd name="connsiteY50" fmla="*/ 1898740 h 3589212"/>
                  <a:gd name="connsiteX51" fmla="*/ 2412874 w 2729264"/>
                  <a:gd name="connsiteY51" fmla="*/ 2594875 h 3589212"/>
                  <a:gd name="connsiteX52" fmla="*/ 2650697 w 2729264"/>
                  <a:gd name="connsiteY52" fmla="*/ 3373781 h 3589212"/>
                  <a:gd name="connsiteX53" fmla="*/ 2710643 w 2729264"/>
                  <a:gd name="connsiteY53" fmla="*/ 3538154 h 3589212"/>
                  <a:gd name="connsiteX54" fmla="*/ 2694930 w 2729264"/>
                  <a:gd name="connsiteY54" fmla="*/ 3510421 h 3589212"/>
                  <a:gd name="connsiteX55" fmla="*/ 1364633 w 2729264"/>
                  <a:gd name="connsiteY55" fmla="*/ 3218374 h 3589212"/>
                  <a:gd name="connsiteX56" fmla="*/ 34336 w 2729264"/>
                  <a:gd name="connsiteY56" fmla="*/ 3510421 h 3589212"/>
                  <a:gd name="connsiteX57" fmla="*/ 18617 w 2729264"/>
                  <a:gd name="connsiteY57" fmla="*/ 3538163 h 3589212"/>
                  <a:gd name="connsiteX58" fmla="*/ 8649 w 2729264"/>
                  <a:gd name="connsiteY58" fmla="*/ 3589212 h 3589212"/>
                  <a:gd name="connsiteX59" fmla="*/ 0 w 2729264"/>
                  <a:gd name="connsiteY59" fmla="*/ 3589212 h 3589212"/>
                  <a:gd name="connsiteX60" fmla="*/ 11929 w 2729264"/>
                  <a:gd name="connsiteY60" fmla="*/ 3556504 h 3589212"/>
                  <a:gd name="connsiteX61" fmla="*/ 6749 w 2729264"/>
                  <a:gd name="connsiteY61" fmla="*/ 3584134 h 3589212"/>
                  <a:gd name="connsiteX62" fmla="*/ 8649 w 2729264"/>
                  <a:gd name="connsiteY62" fmla="*/ 3589212 h 3589212"/>
                  <a:gd name="connsiteX63" fmla="*/ 2729264 w 2729264"/>
                  <a:gd name="connsiteY63" fmla="*/ 3589212 h 3589212"/>
                  <a:gd name="connsiteX64" fmla="*/ 2720616 w 2729264"/>
                  <a:gd name="connsiteY64" fmla="*/ 3589212 h 3589212"/>
                  <a:gd name="connsiteX65" fmla="*/ 2722517 w 2729264"/>
                  <a:gd name="connsiteY65" fmla="*/ 3584134 h 3589212"/>
                  <a:gd name="connsiteX66" fmla="*/ 2717339 w 2729264"/>
                  <a:gd name="connsiteY66" fmla="*/ 3556515 h 3589212"/>
                  <a:gd name="connsiteX67" fmla="*/ 2729264 w 2729264"/>
                  <a:gd name="connsiteY67" fmla="*/ 3589212 h 3589212"/>
                  <a:gd name="connsiteX0" fmla="*/ 674667 w 2729264"/>
                  <a:gd name="connsiteY0" fmla="*/ 0 h 3589212"/>
                  <a:gd name="connsiteX1" fmla="*/ 674667 w 2729264"/>
                  <a:gd name="connsiteY1" fmla="*/ 1 h 3589212"/>
                  <a:gd name="connsiteX2" fmla="*/ 674667 w 2729264"/>
                  <a:gd name="connsiteY2" fmla="*/ 0 h 3589212"/>
                  <a:gd name="connsiteX3" fmla="*/ 2062612 w 2729264"/>
                  <a:gd name="connsiteY3" fmla="*/ 458136 h 3589212"/>
                  <a:gd name="connsiteX4" fmla="*/ 2057947 w 2729264"/>
                  <a:gd name="connsiteY4" fmla="*/ 383685 h 3589212"/>
                  <a:gd name="connsiteX5" fmla="*/ 2057549 w 2729264"/>
                  <a:gd name="connsiteY5" fmla="*/ 353342 h 3589212"/>
                  <a:gd name="connsiteX6" fmla="*/ 2062612 w 2729264"/>
                  <a:gd name="connsiteY6" fmla="*/ 458136 h 3589212"/>
                  <a:gd name="connsiteX7" fmla="*/ 641136 w 2729264"/>
                  <a:gd name="connsiteY7" fmla="*/ 820262 h 3589212"/>
                  <a:gd name="connsiteX8" fmla="*/ 651656 w 2729264"/>
                  <a:gd name="connsiteY8" fmla="*/ 697494 h 3589212"/>
                  <a:gd name="connsiteX9" fmla="*/ 647879 w 2729264"/>
                  <a:gd name="connsiteY9" fmla="*/ 757765 h 3589212"/>
                  <a:gd name="connsiteX10" fmla="*/ 641136 w 2729264"/>
                  <a:gd name="connsiteY10" fmla="*/ 820262 h 3589212"/>
                  <a:gd name="connsiteX11" fmla="*/ 2088129 w 2729264"/>
                  <a:gd name="connsiteY11" fmla="*/ 820270 h 3589212"/>
                  <a:gd name="connsiteX12" fmla="*/ 2081385 w 2729264"/>
                  <a:gd name="connsiteY12" fmla="*/ 757765 h 3589212"/>
                  <a:gd name="connsiteX13" fmla="*/ 2077608 w 2729264"/>
                  <a:gd name="connsiteY13" fmla="*/ 697489 h 3589212"/>
                  <a:gd name="connsiteX14" fmla="*/ 2088129 w 2729264"/>
                  <a:gd name="connsiteY14" fmla="*/ 820270 h 3589212"/>
                  <a:gd name="connsiteX15" fmla="*/ 600203 w 2729264"/>
                  <a:gd name="connsiteY15" fmla="*/ 1185907 h 3589212"/>
                  <a:gd name="connsiteX16" fmla="*/ 613996 w 2729264"/>
                  <a:gd name="connsiteY16" fmla="*/ 1071790 h 3589212"/>
                  <a:gd name="connsiteX17" fmla="*/ 605437 w 2729264"/>
                  <a:gd name="connsiteY17" fmla="*/ 1151111 h 3589212"/>
                  <a:gd name="connsiteX18" fmla="*/ 600203 w 2729264"/>
                  <a:gd name="connsiteY18" fmla="*/ 1185907 h 3589212"/>
                  <a:gd name="connsiteX19" fmla="*/ 2129063 w 2729264"/>
                  <a:gd name="connsiteY19" fmla="*/ 1185922 h 3589212"/>
                  <a:gd name="connsiteX20" fmla="*/ 2123827 w 2729264"/>
                  <a:gd name="connsiteY20" fmla="*/ 1151111 h 3589212"/>
                  <a:gd name="connsiteX21" fmla="*/ 2115265 w 2729264"/>
                  <a:gd name="connsiteY21" fmla="*/ 1071764 h 3589212"/>
                  <a:gd name="connsiteX22" fmla="*/ 2129063 w 2729264"/>
                  <a:gd name="connsiteY22" fmla="*/ 1185922 h 3589212"/>
                  <a:gd name="connsiteX23" fmla="*/ 500147 w 2729264"/>
                  <a:gd name="connsiteY23" fmla="*/ 1794014 h 3589212"/>
                  <a:gd name="connsiteX24" fmla="*/ 500147 w 2729264"/>
                  <a:gd name="connsiteY24" fmla="*/ 1794014 h 3589212"/>
                  <a:gd name="connsiteX25" fmla="*/ 500587 w 2729264"/>
                  <a:gd name="connsiteY25" fmla="*/ 1791664 h 3589212"/>
                  <a:gd name="connsiteX26" fmla="*/ 500587 w 2729264"/>
                  <a:gd name="connsiteY26" fmla="*/ 1791665 h 3589212"/>
                  <a:gd name="connsiteX27" fmla="*/ 500147 w 2729264"/>
                  <a:gd name="connsiteY27" fmla="*/ 1794014 h 3589212"/>
                  <a:gd name="connsiteX28" fmla="*/ 18617 w 2729264"/>
                  <a:gd name="connsiteY28" fmla="*/ 3538163 h 3589212"/>
                  <a:gd name="connsiteX29" fmla="*/ 78567 w 2729264"/>
                  <a:gd name="connsiteY29" fmla="*/ 3373781 h 3589212"/>
                  <a:gd name="connsiteX30" fmla="*/ 316390 w 2729264"/>
                  <a:gd name="connsiteY30" fmla="*/ 2594875 h 3589212"/>
                  <a:gd name="connsiteX31" fmla="*/ 480535 w 2729264"/>
                  <a:gd name="connsiteY31" fmla="*/ 1898740 h 3589212"/>
                  <a:gd name="connsiteX32" fmla="*/ 500147 w 2729264"/>
                  <a:gd name="connsiteY32" fmla="*/ 1794014 h 3589212"/>
                  <a:gd name="connsiteX33" fmla="*/ 501361 w 2729264"/>
                  <a:gd name="connsiteY33" fmla="*/ 1794014 h 3589212"/>
                  <a:gd name="connsiteX34" fmla="*/ 500587 w 2729264"/>
                  <a:gd name="connsiteY34" fmla="*/ 1791665 h 3589212"/>
                  <a:gd name="connsiteX35" fmla="*/ 500751 w 2729264"/>
                  <a:gd name="connsiteY35" fmla="*/ 1790790 h 3589212"/>
                  <a:gd name="connsiteX36" fmla="*/ 518081 w 2729264"/>
                  <a:gd name="connsiteY36" fmla="*/ 1738187 h 3589212"/>
                  <a:gd name="connsiteX37" fmla="*/ 1364633 w 2729264"/>
                  <a:gd name="connsiteY37" fmla="*/ 1527062 h 3589212"/>
                  <a:gd name="connsiteX38" fmla="*/ 2211185 w 2729264"/>
                  <a:gd name="connsiteY38" fmla="*/ 1738187 h 3589212"/>
                  <a:gd name="connsiteX39" fmla="*/ 2228511 w 2729264"/>
                  <a:gd name="connsiteY39" fmla="*/ 1790777 h 3589212"/>
                  <a:gd name="connsiteX40" fmla="*/ 2185466 w 2729264"/>
                  <a:gd name="connsiteY40" fmla="*/ 1560921 h 3589212"/>
                  <a:gd name="connsiteX41" fmla="*/ 2185440 w 2729264"/>
                  <a:gd name="connsiteY41" fmla="*/ 1560748 h 3589212"/>
                  <a:gd name="connsiteX42" fmla="*/ 2185467 w 2729264"/>
                  <a:gd name="connsiteY42" fmla="*/ 1560920 h 3589212"/>
                  <a:gd name="connsiteX43" fmla="*/ 2228678 w 2729264"/>
                  <a:gd name="connsiteY43" fmla="*/ 1791667 h 3589212"/>
                  <a:gd name="connsiteX44" fmla="*/ 2227904 w 2729264"/>
                  <a:gd name="connsiteY44" fmla="*/ 1794014 h 3589212"/>
                  <a:gd name="connsiteX45" fmla="*/ 2229117 w 2729264"/>
                  <a:gd name="connsiteY45" fmla="*/ 1794014 h 3589212"/>
                  <a:gd name="connsiteX46" fmla="*/ 2228777 w 2729264"/>
                  <a:gd name="connsiteY46" fmla="*/ 1792197 h 3589212"/>
                  <a:gd name="connsiteX47" fmla="*/ 2248729 w 2729264"/>
                  <a:gd name="connsiteY47" fmla="*/ 1898740 h 3589212"/>
                  <a:gd name="connsiteX48" fmla="*/ 2412874 w 2729264"/>
                  <a:gd name="connsiteY48" fmla="*/ 2594875 h 3589212"/>
                  <a:gd name="connsiteX49" fmla="*/ 2650697 w 2729264"/>
                  <a:gd name="connsiteY49" fmla="*/ 3373781 h 3589212"/>
                  <a:gd name="connsiteX50" fmla="*/ 2710643 w 2729264"/>
                  <a:gd name="connsiteY50" fmla="*/ 3538154 h 3589212"/>
                  <a:gd name="connsiteX51" fmla="*/ 2694930 w 2729264"/>
                  <a:gd name="connsiteY51" fmla="*/ 3510421 h 3589212"/>
                  <a:gd name="connsiteX52" fmla="*/ 1364633 w 2729264"/>
                  <a:gd name="connsiteY52" fmla="*/ 3218374 h 3589212"/>
                  <a:gd name="connsiteX53" fmla="*/ 34336 w 2729264"/>
                  <a:gd name="connsiteY53" fmla="*/ 3510421 h 3589212"/>
                  <a:gd name="connsiteX54" fmla="*/ 18617 w 2729264"/>
                  <a:gd name="connsiteY54" fmla="*/ 3538163 h 3589212"/>
                  <a:gd name="connsiteX55" fmla="*/ 8649 w 2729264"/>
                  <a:gd name="connsiteY55" fmla="*/ 3589212 h 3589212"/>
                  <a:gd name="connsiteX56" fmla="*/ 0 w 2729264"/>
                  <a:gd name="connsiteY56" fmla="*/ 3589212 h 3589212"/>
                  <a:gd name="connsiteX57" fmla="*/ 11929 w 2729264"/>
                  <a:gd name="connsiteY57" fmla="*/ 3556504 h 3589212"/>
                  <a:gd name="connsiteX58" fmla="*/ 6749 w 2729264"/>
                  <a:gd name="connsiteY58" fmla="*/ 3584134 h 3589212"/>
                  <a:gd name="connsiteX59" fmla="*/ 8649 w 2729264"/>
                  <a:gd name="connsiteY59" fmla="*/ 3589212 h 3589212"/>
                  <a:gd name="connsiteX60" fmla="*/ 2729264 w 2729264"/>
                  <a:gd name="connsiteY60" fmla="*/ 3589212 h 3589212"/>
                  <a:gd name="connsiteX61" fmla="*/ 2720616 w 2729264"/>
                  <a:gd name="connsiteY61" fmla="*/ 3589212 h 3589212"/>
                  <a:gd name="connsiteX62" fmla="*/ 2722517 w 2729264"/>
                  <a:gd name="connsiteY62" fmla="*/ 3584134 h 3589212"/>
                  <a:gd name="connsiteX63" fmla="*/ 2717339 w 2729264"/>
                  <a:gd name="connsiteY63" fmla="*/ 3556515 h 3589212"/>
                  <a:gd name="connsiteX64" fmla="*/ 2729264 w 2729264"/>
                  <a:gd name="connsiteY64" fmla="*/ 3589212 h 3589212"/>
                  <a:gd name="connsiteX0" fmla="*/ 674667 w 2729264"/>
                  <a:gd name="connsiteY0" fmla="*/ 0 h 3589212"/>
                  <a:gd name="connsiteX1" fmla="*/ 674667 w 2729264"/>
                  <a:gd name="connsiteY1" fmla="*/ 1 h 3589212"/>
                  <a:gd name="connsiteX2" fmla="*/ 674667 w 2729264"/>
                  <a:gd name="connsiteY2" fmla="*/ 0 h 3589212"/>
                  <a:gd name="connsiteX3" fmla="*/ 2062612 w 2729264"/>
                  <a:gd name="connsiteY3" fmla="*/ 458136 h 3589212"/>
                  <a:gd name="connsiteX4" fmla="*/ 2057947 w 2729264"/>
                  <a:gd name="connsiteY4" fmla="*/ 383685 h 3589212"/>
                  <a:gd name="connsiteX5" fmla="*/ 2057549 w 2729264"/>
                  <a:gd name="connsiteY5" fmla="*/ 353342 h 3589212"/>
                  <a:gd name="connsiteX6" fmla="*/ 2062612 w 2729264"/>
                  <a:gd name="connsiteY6" fmla="*/ 458136 h 3589212"/>
                  <a:gd name="connsiteX7" fmla="*/ 641136 w 2729264"/>
                  <a:gd name="connsiteY7" fmla="*/ 820262 h 3589212"/>
                  <a:gd name="connsiteX8" fmla="*/ 647879 w 2729264"/>
                  <a:gd name="connsiteY8" fmla="*/ 757765 h 3589212"/>
                  <a:gd name="connsiteX9" fmla="*/ 641136 w 2729264"/>
                  <a:gd name="connsiteY9" fmla="*/ 820262 h 3589212"/>
                  <a:gd name="connsiteX10" fmla="*/ 2088129 w 2729264"/>
                  <a:gd name="connsiteY10" fmla="*/ 820270 h 3589212"/>
                  <a:gd name="connsiteX11" fmla="*/ 2081385 w 2729264"/>
                  <a:gd name="connsiteY11" fmla="*/ 757765 h 3589212"/>
                  <a:gd name="connsiteX12" fmla="*/ 2077608 w 2729264"/>
                  <a:gd name="connsiteY12" fmla="*/ 697489 h 3589212"/>
                  <a:gd name="connsiteX13" fmla="*/ 2088129 w 2729264"/>
                  <a:gd name="connsiteY13" fmla="*/ 820270 h 3589212"/>
                  <a:gd name="connsiteX14" fmla="*/ 600203 w 2729264"/>
                  <a:gd name="connsiteY14" fmla="*/ 1185907 h 3589212"/>
                  <a:gd name="connsiteX15" fmla="*/ 613996 w 2729264"/>
                  <a:gd name="connsiteY15" fmla="*/ 1071790 h 3589212"/>
                  <a:gd name="connsiteX16" fmla="*/ 605437 w 2729264"/>
                  <a:gd name="connsiteY16" fmla="*/ 1151111 h 3589212"/>
                  <a:gd name="connsiteX17" fmla="*/ 600203 w 2729264"/>
                  <a:gd name="connsiteY17" fmla="*/ 1185907 h 3589212"/>
                  <a:gd name="connsiteX18" fmla="*/ 2129063 w 2729264"/>
                  <a:gd name="connsiteY18" fmla="*/ 1185922 h 3589212"/>
                  <a:gd name="connsiteX19" fmla="*/ 2123827 w 2729264"/>
                  <a:gd name="connsiteY19" fmla="*/ 1151111 h 3589212"/>
                  <a:gd name="connsiteX20" fmla="*/ 2115265 w 2729264"/>
                  <a:gd name="connsiteY20" fmla="*/ 1071764 h 3589212"/>
                  <a:gd name="connsiteX21" fmla="*/ 2129063 w 2729264"/>
                  <a:gd name="connsiteY21" fmla="*/ 1185922 h 3589212"/>
                  <a:gd name="connsiteX22" fmla="*/ 500147 w 2729264"/>
                  <a:gd name="connsiteY22" fmla="*/ 1794014 h 3589212"/>
                  <a:gd name="connsiteX23" fmla="*/ 500147 w 2729264"/>
                  <a:gd name="connsiteY23" fmla="*/ 1794014 h 3589212"/>
                  <a:gd name="connsiteX24" fmla="*/ 500587 w 2729264"/>
                  <a:gd name="connsiteY24" fmla="*/ 1791664 h 3589212"/>
                  <a:gd name="connsiteX25" fmla="*/ 500587 w 2729264"/>
                  <a:gd name="connsiteY25" fmla="*/ 1791665 h 3589212"/>
                  <a:gd name="connsiteX26" fmla="*/ 500147 w 2729264"/>
                  <a:gd name="connsiteY26" fmla="*/ 1794014 h 3589212"/>
                  <a:gd name="connsiteX27" fmla="*/ 18617 w 2729264"/>
                  <a:gd name="connsiteY27" fmla="*/ 3538163 h 3589212"/>
                  <a:gd name="connsiteX28" fmla="*/ 78567 w 2729264"/>
                  <a:gd name="connsiteY28" fmla="*/ 3373781 h 3589212"/>
                  <a:gd name="connsiteX29" fmla="*/ 316390 w 2729264"/>
                  <a:gd name="connsiteY29" fmla="*/ 2594875 h 3589212"/>
                  <a:gd name="connsiteX30" fmla="*/ 480535 w 2729264"/>
                  <a:gd name="connsiteY30" fmla="*/ 1898740 h 3589212"/>
                  <a:gd name="connsiteX31" fmla="*/ 500147 w 2729264"/>
                  <a:gd name="connsiteY31" fmla="*/ 1794014 h 3589212"/>
                  <a:gd name="connsiteX32" fmla="*/ 501361 w 2729264"/>
                  <a:gd name="connsiteY32" fmla="*/ 1794014 h 3589212"/>
                  <a:gd name="connsiteX33" fmla="*/ 500587 w 2729264"/>
                  <a:gd name="connsiteY33" fmla="*/ 1791665 h 3589212"/>
                  <a:gd name="connsiteX34" fmla="*/ 500751 w 2729264"/>
                  <a:gd name="connsiteY34" fmla="*/ 1790790 h 3589212"/>
                  <a:gd name="connsiteX35" fmla="*/ 518081 w 2729264"/>
                  <a:gd name="connsiteY35" fmla="*/ 1738187 h 3589212"/>
                  <a:gd name="connsiteX36" fmla="*/ 1364633 w 2729264"/>
                  <a:gd name="connsiteY36" fmla="*/ 1527062 h 3589212"/>
                  <a:gd name="connsiteX37" fmla="*/ 2211185 w 2729264"/>
                  <a:gd name="connsiteY37" fmla="*/ 1738187 h 3589212"/>
                  <a:gd name="connsiteX38" fmla="*/ 2228511 w 2729264"/>
                  <a:gd name="connsiteY38" fmla="*/ 1790777 h 3589212"/>
                  <a:gd name="connsiteX39" fmla="*/ 2185466 w 2729264"/>
                  <a:gd name="connsiteY39" fmla="*/ 1560921 h 3589212"/>
                  <a:gd name="connsiteX40" fmla="*/ 2185440 w 2729264"/>
                  <a:gd name="connsiteY40" fmla="*/ 1560748 h 3589212"/>
                  <a:gd name="connsiteX41" fmla="*/ 2185467 w 2729264"/>
                  <a:gd name="connsiteY41" fmla="*/ 1560920 h 3589212"/>
                  <a:gd name="connsiteX42" fmla="*/ 2228678 w 2729264"/>
                  <a:gd name="connsiteY42" fmla="*/ 1791667 h 3589212"/>
                  <a:gd name="connsiteX43" fmla="*/ 2227904 w 2729264"/>
                  <a:gd name="connsiteY43" fmla="*/ 1794014 h 3589212"/>
                  <a:gd name="connsiteX44" fmla="*/ 2229117 w 2729264"/>
                  <a:gd name="connsiteY44" fmla="*/ 1794014 h 3589212"/>
                  <a:gd name="connsiteX45" fmla="*/ 2228777 w 2729264"/>
                  <a:gd name="connsiteY45" fmla="*/ 1792197 h 3589212"/>
                  <a:gd name="connsiteX46" fmla="*/ 2248729 w 2729264"/>
                  <a:gd name="connsiteY46" fmla="*/ 1898740 h 3589212"/>
                  <a:gd name="connsiteX47" fmla="*/ 2412874 w 2729264"/>
                  <a:gd name="connsiteY47" fmla="*/ 2594875 h 3589212"/>
                  <a:gd name="connsiteX48" fmla="*/ 2650697 w 2729264"/>
                  <a:gd name="connsiteY48" fmla="*/ 3373781 h 3589212"/>
                  <a:gd name="connsiteX49" fmla="*/ 2710643 w 2729264"/>
                  <a:gd name="connsiteY49" fmla="*/ 3538154 h 3589212"/>
                  <a:gd name="connsiteX50" fmla="*/ 2694930 w 2729264"/>
                  <a:gd name="connsiteY50" fmla="*/ 3510421 h 3589212"/>
                  <a:gd name="connsiteX51" fmla="*/ 1364633 w 2729264"/>
                  <a:gd name="connsiteY51" fmla="*/ 3218374 h 3589212"/>
                  <a:gd name="connsiteX52" fmla="*/ 34336 w 2729264"/>
                  <a:gd name="connsiteY52" fmla="*/ 3510421 h 3589212"/>
                  <a:gd name="connsiteX53" fmla="*/ 18617 w 2729264"/>
                  <a:gd name="connsiteY53" fmla="*/ 3538163 h 3589212"/>
                  <a:gd name="connsiteX54" fmla="*/ 8649 w 2729264"/>
                  <a:gd name="connsiteY54" fmla="*/ 3589212 h 3589212"/>
                  <a:gd name="connsiteX55" fmla="*/ 0 w 2729264"/>
                  <a:gd name="connsiteY55" fmla="*/ 3589212 h 3589212"/>
                  <a:gd name="connsiteX56" fmla="*/ 11929 w 2729264"/>
                  <a:gd name="connsiteY56" fmla="*/ 3556504 h 3589212"/>
                  <a:gd name="connsiteX57" fmla="*/ 6749 w 2729264"/>
                  <a:gd name="connsiteY57" fmla="*/ 3584134 h 3589212"/>
                  <a:gd name="connsiteX58" fmla="*/ 8649 w 2729264"/>
                  <a:gd name="connsiteY58" fmla="*/ 3589212 h 3589212"/>
                  <a:gd name="connsiteX59" fmla="*/ 2729264 w 2729264"/>
                  <a:gd name="connsiteY59" fmla="*/ 3589212 h 3589212"/>
                  <a:gd name="connsiteX60" fmla="*/ 2720616 w 2729264"/>
                  <a:gd name="connsiteY60" fmla="*/ 3589212 h 3589212"/>
                  <a:gd name="connsiteX61" fmla="*/ 2722517 w 2729264"/>
                  <a:gd name="connsiteY61" fmla="*/ 3584134 h 3589212"/>
                  <a:gd name="connsiteX62" fmla="*/ 2717339 w 2729264"/>
                  <a:gd name="connsiteY62" fmla="*/ 3556515 h 3589212"/>
                  <a:gd name="connsiteX63" fmla="*/ 2729264 w 2729264"/>
                  <a:gd name="connsiteY63" fmla="*/ 3589212 h 3589212"/>
                  <a:gd name="connsiteX0" fmla="*/ 674667 w 2729264"/>
                  <a:gd name="connsiteY0" fmla="*/ 0 h 3589212"/>
                  <a:gd name="connsiteX1" fmla="*/ 674667 w 2729264"/>
                  <a:gd name="connsiteY1" fmla="*/ 1 h 3589212"/>
                  <a:gd name="connsiteX2" fmla="*/ 674667 w 2729264"/>
                  <a:gd name="connsiteY2" fmla="*/ 0 h 3589212"/>
                  <a:gd name="connsiteX3" fmla="*/ 2062612 w 2729264"/>
                  <a:gd name="connsiteY3" fmla="*/ 458136 h 3589212"/>
                  <a:gd name="connsiteX4" fmla="*/ 2057947 w 2729264"/>
                  <a:gd name="connsiteY4" fmla="*/ 383685 h 3589212"/>
                  <a:gd name="connsiteX5" fmla="*/ 2057549 w 2729264"/>
                  <a:gd name="connsiteY5" fmla="*/ 353342 h 3589212"/>
                  <a:gd name="connsiteX6" fmla="*/ 2062612 w 2729264"/>
                  <a:gd name="connsiteY6" fmla="*/ 458136 h 3589212"/>
                  <a:gd name="connsiteX7" fmla="*/ 2088129 w 2729264"/>
                  <a:gd name="connsiteY7" fmla="*/ 820270 h 3589212"/>
                  <a:gd name="connsiteX8" fmla="*/ 2081385 w 2729264"/>
                  <a:gd name="connsiteY8" fmla="*/ 757765 h 3589212"/>
                  <a:gd name="connsiteX9" fmla="*/ 2077608 w 2729264"/>
                  <a:gd name="connsiteY9" fmla="*/ 697489 h 3589212"/>
                  <a:gd name="connsiteX10" fmla="*/ 2088129 w 2729264"/>
                  <a:gd name="connsiteY10" fmla="*/ 820270 h 3589212"/>
                  <a:gd name="connsiteX11" fmla="*/ 600203 w 2729264"/>
                  <a:gd name="connsiteY11" fmla="*/ 1185907 h 3589212"/>
                  <a:gd name="connsiteX12" fmla="*/ 613996 w 2729264"/>
                  <a:gd name="connsiteY12" fmla="*/ 1071790 h 3589212"/>
                  <a:gd name="connsiteX13" fmla="*/ 605437 w 2729264"/>
                  <a:gd name="connsiteY13" fmla="*/ 1151111 h 3589212"/>
                  <a:gd name="connsiteX14" fmla="*/ 600203 w 2729264"/>
                  <a:gd name="connsiteY14" fmla="*/ 1185907 h 3589212"/>
                  <a:gd name="connsiteX15" fmla="*/ 2129063 w 2729264"/>
                  <a:gd name="connsiteY15" fmla="*/ 1185922 h 3589212"/>
                  <a:gd name="connsiteX16" fmla="*/ 2123827 w 2729264"/>
                  <a:gd name="connsiteY16" fmla="*/ 1151111 h 3589212"/>
                  <a:gd name="connsiteX17" fmla="*/ 2115265 w 2729264"/>
                  <a:gd name="connsiteY17" fmla="*/ 1071764 h 3589212"/>
                  <a:gd name="connsiteX18" fmla="*/ 2129063 w 2729264"/>
                  <a:gd name="connsiteY18" fmla="*/ 1185922 h 3589212"/>
                  <a:gd name="connsiteX19" fmla="*/ 500147 w 2729264"/>
                  <a:gd name="connsiteY19" fmla="*/ 1794014 h 3589212"/>
                  <a:gd name="connsiteX20" fmla="*/ 500147 w 2729264"/>
                  <a:gd name="connsiteY20" fmla="*/ 1794014 h 3589212"/>
                  <a:gd name="connsiteX21" fmla="*/ 500587 w 2729264"/>
                  <a:gd name="connsiteY21" fmla="*/ 1791664 h 3589212"/>
                  <a:gd name="connsiteX22" fmla="*/ 500587 w 2729264"/>
                  <a:gd name="connsiteY22" fmla="*/ 1791665 h 3589212"/>
                  <a:gd name="connsiteX23" fmla="*/ 500147 w 2729264"/>
                  <a:gd name="connsiteY23" fmla="*/ 1794014 h 3589212"/>
                  <a:gd name="connsiteX24" fmla="*/ 18617 w 2729264"/>
                  <a:gd name="connsiteY24" fmla="*/ 3538163 h 3589212"/>
                  <a:gd name="connsiteX25" fmla="*/ 78567 w 2729264"/>
                  <a:gd name="connsiteY25" fmla="*/ 3373781 h 3589212"/>
                  <a:gd name="connsiteX26" fmla="*/ 316390 w 2729264"/>
                  <a:gd name="connsiteY26" fmla="*/ 2594875 h 3589212"/>
                  <a:gd name="connsiteX27" fmla="*/ 480535 w 2729264"/>
                  <a:gd name="connsiteY27" fmla="*/ 1898740 h 3589212"/>
                  <a:gd name="connsiteX28" fmla="*/ 500147 w 2729264"/>
                  <a:gd name="connsiteY28" fmla="*/ 1794014 h 3589212"/>
                  <a:gd name="connsiteX29" fmla="*/ 501361 w 2729264"/>
                  <a:gd name="connsiteY29" fmla="*/ 1794014 h 3589212"/>
                  <a:gd name="connsiteX30" fmla="*/ 500587 w 2729264"/>
                  <a:gd name="connsiteY30" fmla="*/ 1791665 h 3589212"/>
                  <a:gd name="connsiteX31" fmla="*/ 500751 w 2729264"/>
                  <a:gd name="connsiteY31" fmla="*/ 1790790 h 3589212"/>
                  <a:gd name="connsiteX32" fmla="*/ 518081 w 2729264"/>
                  <a:gd name="connsiteY32" fmla="*/ 1738187 h 3589212"/>
                  <a:gd name="connsiteX33" fmla="*/ 1364633 w 2729264"/>
                  <a:gd name="connsiteY33" fmla="*/ 1527062 h 3589212"/>
                  <a:gd name="connsiteX34" fmla="*/ 2211185 w 2729264"/>
                  <a:gd name="connsiteY34" fmla="*/ 1738187 h 3589212"/>
                  <a:gd name="connsiteX35" fmla="*/ 2228511 w 2729264"/>
                  <a:gd name="connsiteY35" fmla="*/ 1790777 h 3589212"/>
                  <a:gd name="connsiteX36" fmla="*/ 2185466 w 2729264"/>
                  <a:gd name="connsiteY36" fmla="*/ 1560921 h 3589212"/>
                  <a:gd name="connsiteX37" fmla="*/ 2185440 w 2729264"/>
                  <a:gd name="connsiteY37" fmla="*/ 1560748 h 3589212"/>
                  <a:gd name="connsiteX38" fmla="*/ 2185467 w 2729264"/>
                  <a:gd name="connsiteY38" fmla="*/ 1560920 h 3589212"/>
                  <a:gd name="connsiteX39" fmla="*/ 2228678 w 2729264"/>
                  <a:gd name="connsiteY39" fmla="*/ 1791667 h 3589212"/>
                  <a:gd name="connsiteX40" fmla="*/ 2227904 w 2729264"/>
                  <a:gd name="connsiteY40" fmla="*/ 1794014 h 3589212"/>
                  <a:gd name="connsiteX41" fmla="*/ 2229117 w 2729264"/>
                  <a:gd name="connsiteY41" fmla="*/ 1794014 h 3589212"/>
                  <a:gd name="connsiteX42" fmla="*/ 2228777 w 2729264"/>
                  <a:gd name="connsiteY42" fmla="*/ 1792197 h 3589212"/>
                  <a:gd name="connsiteX43" fmla="*/ 2248729 w 2729264"/>
                  <a:gd name="connsiteY43" fmla="*/ 1898740 h 3589212"/>
                  <a:gd name="connsiteX44" fmla="*/ 2412874 w 2729264"/>
                  <a:gd name="connsiteY44" fmla="*/ 2594875 h 3589212"/>
                  <a:gd name="connsiteX45" fmla="*/ 2650697 w 2729264"/>
                  <a:gd name="connsiteY45" fmla="*/ 3373781 h 3589212"/>
                  <a:gd name="connsiteX46" fmla="*/ 2710643 w 2729264"/>
                  <a:gd name="connsiteY46" fmla="*/ 3538154 h 3589212"/>
                  <a:gd name="connsiteX47" fmla="*/ 2694930 w 2729264"/>
                  <a:gd name="connsiteY47" fmla="*/ 3510421 h 3589212"/>
                  <a:gd name="connsiteX48" fmla="*/ 1364633 w 2729264"/>
                  <a:gd name="connsiteY48" fmla="*/ 3218374 h 3589212"/>
                  <a:gd name="connsiteX49" fmla="*/ 34336 w 2729264"/>
                  <a:gd name="connsiteY49" fmla="*/ 3510421 h 3589212"/>
                  <a:gd name="connsiteX50" fmla="*/ 18617 w 2729264"/>
                  <a:gd name="connsiteY50" fmla="*/ 3538163 h 3589212"/>
                  <a:gd name="connsiteX51" fmla="*/ 8649 w 2729264"/>
                  <a:gd name="connsiteY51" fmla="*/ 3589212 h 3589212"/>
                  <a:gd name="connsiteX52" fmla="*/ 0 w 2729264"/>
                  <a:gd name="connsiteY52" fmla="*/ 3589212 h 3589212"/>
                  <a:gd name="connsiteX53" fmla="*/ 11929 w 2729264"/>
                  <a:gd name="connsiteY53" fmla="*/ 3556504 h 3589212"/>
                  <a:gd name="connsiteX54" fmla="*/ 6749 w 2729264"/>
                  <a:gd name="connsiteY54" fmla="*/ 3584134 h 3589212"/>
                  <a:gd name="connsiteX55" fmla="*/ 8649 w 2729264"/>
                  <a:gd name="connsiteY55" fmla="*/ 3589212 h 3589212"/>
                  <a:gd name="connsiteX56" fmla="*/ 2729264 w 2729264"/>
                  <a:gd name="connsiteY56" fmla="*/ 3589212 h 3589212"/>
                  <a:gd name="connsiteX57" fmla="*/ 2720616 w 2729264"/>
                  <a:gd name="connsiteY57" fmla="*/ 3589212 h 3589212"/>
                  <a:gd name="connsiteX58" fmla="*/ 2722517 w 2729264"/>
                  <a:gd name="connsiteY58" fmla="*/ 3584134 h 3589212"/>
                  <a:gd name="connsiteX59" fmla="*/ 2717339 w 2729264"/>
                  <a:gd name="connsiteY59" fmla="*/ 3556515 h 3589212"/>
                  <a:gd name="connsiteX60" fmla="*/ 2729264 w 2729264"/>
                  <a:gd name="connsiteY60" fmla="*/ 3589212 h 3589212"/>
                  <a:gd name="connsiteX0" fmla="*/ 674667 w 2729264"/>
                  <a:gd name="connsiteY0" fmla="*/ 0 h 3589212"/>
                  <a:gd name="connsiteX1" fmla="*/ 674667 w 2729264"/>
                  <a:gd name="connsiteY1" fmla="*/ 1 h 3589212"/>
                  <a:gd name="connsiteX2" fmla="*/ 674667 w 2729264"/>
                  <a:gd name="connsiteY2" fmla="*/ 0 h 3589212"/>
                  <a:gd name="connsiteX3" fmla="*/ 2062612 w 2729264"/>
                  <a:gd name="connsiteY3" fmla="*/ 458136 h 3589212"/>
                  <a:gd name="connsiteX4" fmla="*/ 2057947 w 2729264"/>
                  <a:gd name="connsiteY4" fmla="*/ 383685 h 3589212"/>
                  <a:gd name="connsiteX5" fmla="*/ 2057549 w 2729264"/>
                  <a:gd name="connsiteY5" fmla="*/ 353342 h 3589212"/>
                  <a:gd name="connsiteX6" fmla="*/ 2062612 w 2729264"/>
                  <a:gd name="connsiteY6" fmla="*/ 458136 h 3589212"/>
                  <a:gd name="connsiteX7" fmla="*/ 2088129 w 2729264"/>
                  <a:gd name="connsiteY7" fmla="*/ 820270 h 3589212"/>
                  <a:gd name="connsiteX8" fmla="*/ 2081385 w 2729264"/>
                  <a:gd name="connsiteY8" fmla="*/ 757765 h 3589212"/>
                  <a:gd name="connsiteX9" fmla="*/ 2077608 w 2729264"/>
                  <a:gd name="connsiteY9" fmla="*/ 697489 h 3589212"/>
                  <a:gd name="connsiteX10" fmla="*/ 2088129 w 2729264"/>
                  <a:gd name="connsiteY10" fmla="*/ 820270 h 3589212"/>
                  <a:gd name="connsiteX11" fmla="*/ 600203 w 2729264"/>
                  <a:gd name="connsiteY11" fmla="*/ 1185907 h 3589212"/>
                  <a:gd name="connsiteX12" fmla="*/ 605437 w 2729264"/>
                  <a:gd name="connsiteY12" fmla="*/ 1151111 h 3589212"/>
                  <a:gd name="connsiteX13" fmla="*/ 600203 w 2729264"/>
                  <a:gd name="connsiteY13" fmla="*/ 1185907 h 3589212"/>
                  <a:gd name="connsiteX14" fmla="*/ 2129063 w 2729264"/>
                  <a:gd name="connsiteY14" fmla="*/ 1185922 h 3589212"/>
                  <a:gd name="connsiteX15" fmla="*/ 2123827 w 2729264"/>
                  <a:gd name="connsiteY15" fmla="*/ 1151111 h 3589212"/>
                  <a:gd name="connsiteX16" fmla="*/ 2115265 w 2729264"/>
                  <a:gd name="connsiteY16" fmla="*/ 1071764 h 3589212"/>
                  <a:gd name="connsiteX17" fmla="*/ 2129063 w 2729264"/>
                  <a:gd name="connsiteY17" fmla="*/ 1185922 h 3589212"/>
                  <a:gd name="connsiteX18" fmla="*/ 500147 w 2729264"/>
                  <a:gd name="connsiteY18" fmla="*/ 1794014 h 3589212"/>
                  <a:gd name="connsiteX19" fmla="*/ 500147 w 2729264"/>
                  <a:gd name="connsiteY19" fmla="*/ 1794014 h 3589212"/>
                  <a:gd name="connsiteX20" fmla="*/ 500587 w 2729264"/>
                  <a:gd name="connsiteY20" fmla="*/ 1791664 h 3589212"/>
                  <a:gd name="connsiteX21" fmla="*/ 500587 w 2729264"/>
                  <a:gd name="connsiteY21" fmla="*/ 1791665 h 3589212"/>
                  <a:gd name="connsiteX22" fmla="*/ 500147 w 2729264"/>
                  <a:gd name="connsiteY22" fmla="*/ 1794014 h 3589212"/>
                  <a:gd name="connsiteX23" fmla="*/ 18617 w 2729264"/>
                  <a:gd name="connsiteY23" fmla="*/ 3538163 h 3589212"/>
                  <a:gd name="connsiteX24" fmla="*/ 78567 w 2729264"/>
                  <a:gd name="connsiteY24" fmla="*/ 3373781 h 3589212"/>
                  <a:gd name="connsiteX25" fmla="*/ 316390 w 2729264"/>
                  <a:gd name="connsiteY25" fmla="*/ 2594875 h 3589212"/>
                  <a:gd name="connsiteX26" fmla="*/ 480535 w 2729264"/>
                  <a:gd name="connsiteY26" fmla="*/ 1898740 h 3589212"/>
                  <a:gd name="connsiteX27" fmla="*/ 500147 w 2729264"/>
                  <a:gd name="connsiteY27" fmla="*/ 1794014 h 3589212"/>
                  <a:gd name="connsiteX28" fmla="*/ 501361 w 2729264"/>
                  <a:gd name="connsiteY28" fmla="*/ 1794014 h 3589212"/>
                  <a:gd name="connsiteX29" fmla="*/ 500587 w 2729264"/>
                  <a:gd name="connsiteY29" fmla="*/ 1791665 h 3589212"/>
                  <a:gd name="connsiteX30" fmla="*/ 500751 w 2729264"/>
                  <a:gd name="connsiteY30" fmla="*/ 1790790 h 3589212"/>
                  <a:gd name="connsiteX31" fmla="*/ 518081 w 2729264"/>
                  <a:gd name="connsiteY31" fmla="*/ 1738187 h 3589212"/>
                  <a:gd name="connsiteX32" fmla="*/ 1364633 w 2729264"/>
                  <a:gd name="connsiteY32" fmla="*/ 1527062 h 3589212"/>
                  <a:gd name="connsiteX33" fmla="*/ 2211185 w 2729264"/>
                  <a:gd name="connsiteY33" fmla="*/ 1738187 h 3589212"/>
                  <a:gd name="connsiteX34" fmla="*/ 2228511 w 2729264"/>
                  <a:gd name="connsiteY34" fmla="*/ 1790777 h 3589212"/>
                  <a:gd name="connsiteX35" fmla="*/ 2185466 w 2729264"/>
                  <a:gd name="connsiteY35" fmla="*/ 1560921 h 3589212"/>
                  <a:gd name="connsiteX36" fmla="*/ 2185440 w 2729264"/>
                  <a:gd name="connsiteY36" fmla="*/ 1560748 h 3589212"/>
                  <a:gd name="connsiteX37" fmla="*/ 2185467 w 2729264"/>
                  <a:gd name="connsiteY37" fmla="*/ 1560920 h 3589212"/>
                  <a:gd name="connsiteX38" fmla="*/ 2228678 w 2729264"/>
                  <a:gd name="connsiteY38" fmla="*/ 1791667 h 3589212"/>
                  <a:gd name="connsiteX39" fmla="*/ 2227904 w 2729264"/>
                  <a:gd name="connsiteY39" fmla="*/ 1794014 h 3589212"/>
                  <a:gd name="connsiteX40" fmla="*/ 2229117 w 2729264"/>
                  <a:gd name="connsiteY40" fmla="*/ 1794014 h 3589212"/>
                  <a:gd name="connsiteX41" fmla="*/ 2228777 w 2729264"/>
                  <a:gd name="connsiteY41" fmla="*/ 1792197 h 3589212"/>
                  <a:gd name="connsiteX42" fmla="*/ 2248729 w 2729264"/>
                  <a:gd name="connsiteY42" fmla="*/ 1898740 h 3589212"/>
                  <a:gd name="connsiteX43" fmla="*/ 2412874 w 2729264"/>
                  <a:gd name="connsiteY43" fmla="*/ 2594875 h 3589212"/>
                  <a:gd name="connsiteX44" fmla="*/ 2650697 w 2729264"/>
                  <a:gd name="connsiteY44" fmla="*/ 3373781 h 3589212"/>
                  <a:gd name="connsiteX45" fmla="*/ 2710643 w 2729264"/>
                  <a:gd name="connsiteY45" fmla="*/ 3538154 h 3589212"/>
                  <a:gd name="connsiteX46" fmla="*/ 2694930 w 2729264"/>
                  <a:gd name="connsiteY46" fmla="*/ 3510421 h 3589212"/>
                  <a:gd name="connsiteX47" fmla="*/ 1364633 w 2729264"/>
                  <a:gd name="connsiteY47" fmla="*/ 3218374 h 3589212"/>
                  <a:gd name="connsiteX48" fmla="*/ 34336 w 2729264"/>
                  <a:gd name="connsiteY48" fmla="*/ 3510421 h 3589212"/>
                  <a:gd name="connsiteX49" fmla="*/ 18617 w 2729264"/>
                  <a:gd name="connsiteY49" fmla="*/ 3538163 h 3589212"/>
                  <a:gd name="connsiteX50" fmla="*/ 8649 w 2729264"/>
                  <a:gd name="connsiteY50" fmla="*/ 3589212 h 3589212"/>
                  <a:gd name="connsiteX51" fmla="*/ 0 w 2729264"/>
                  <a:gd name="connsiteY51" fmla="*/ 3589212 h 3589212"/>
                  <a:gd name="connsiteX52" fmla="*/ 11929 w 2729264"/>
                  <a:gd name="connsiteY52" fmla="*/ 3556504 h 3589212"/>
                  <a:gd name="connsiteX53" fmla="*/ 6749 w 2729264"/>
                  <a:gd name="connsiteY53" fmla="*/ 3584134 h 3589212"/>
                  <a:gd name="connsiteX54" fmla="*/ 8649 w 2729264"/>
                  <a:gd name="connsiteY54" fmla="*/ 3589212 h 3589212"/>
                  <a:gd name="connsiteX55" fmla="*/ 2729264 w 2729264"/>
                  <a:gd name="connsiteY55" fmla="*/ 3589212 h 3589212"/>
                  <a:gd name="connsiteX56" fmla="*/ 2720616 w 2729264"/>
                  <a:gd name="connsiteY56" fmla="*/ 3589212 h 3589212"/>
                  <a:gd name="connsiteX57" fmla="*/ 2722517 w 2729264"/>
                  <a:gd name="connsiteY57" fmla="*/ 3584134 h 3589212"/>
                  <a:gd name="connsiteX58" fmla="*/ 2717339 w 2729264"/>
                  <a:gd name="connsiteY58" fmla="*/ 3556515 h 3589212"/>
                  <a:gd name="connsiteX59" fmla="*/ 2729264 w 2729264"/>
                  <a:gd name="connsiteY59" fmla="*/ 3589212 h 3589212"/>
                  <a:gd name="connsiteX0" fmla="*/ 674667 w 2729264"/>
                  <a:gd name="connsiteY0" fmla="*/ 0 h 3589212"/>
                  <a:gd name="connsiteX1" fmla="*/ 674667 w 2729264"/>
                  <a:gd name="connsiteY1" fmla="*/ 1 h 3589212"/>
                  <a:gd name="connsiteX2" fmla="*/ 674667 w 2729264"/>
                  <a:gd name="connsiteY2" fmla="*/ 0 h 3589212"/>
                  <a:gd name="connsiteX3" fmla="*/ 2062612 w 2729264"/>
                  <a:gd name="connsiteY3" fmla="*/ 458136 h 3589212"/>
                  <a:gd name="connsiteX4" fmla="*/ 2057947 w 2729264"/>
                  <a:gd name="connsiteY4" fmla="*/ 383685 h 3589212"/>
                  <a:gd name="connsiteX5" fmla="*/ 2057549 w 2729264"/>
                  <a:gd name="connsiteY5" fmla="*/ 353342 h 3589212"/>
                  <a:gd name="connsiteX6" fmla="*/ 2062612 w 2729264"/>
                  <a:gd name="connsiteY6" fmla="*/ 458136 h 3589212"/>
                  <a:gd name="connsiteX7" fmla="*/ 2088129 w 2729264"/>
                  <a:gd name="connsiteY7" fmla="*/ 820270 h 3589212"/>
                  <a:gd name="connsiteX8" fmla="*/ 2081385 w 2729264"/>
                  <a:gd name="connsiteY8" fmla="*/ 757765 h 3589212"/>
                  <a:gd name="connsiteX9" fmla="*/ 2077608 w 2729264"/>
                  <a:gd name="connsiteY9" fmla="*/ 697489 h 3589212"/>
                  <a:gd name="connsiteX10" fmla="*/ 2088129 w 2729264"/>
                  <a:gd name="connsiteY10" fmla="*/ 820270 h 3589212"/>
                  <a:gd name="connsiteX11" fmla="*/ 2129063 w 2729264"/>
                  <a:gd name="connsiteY11" fmla="*/ 1185922 h 3589212"/>
                  <a:gd name="connsiteX12" fmla="*/ 2123827 w 2729264"/>
                  <a:gd name="connsiteY12" fmla="*/ 1151111 h 3589212"/>
                  <a:gd name="connsiteX13" fmla="*/ 2115265 w 2729264"/>
                  <a:gd name="connsiteY13" fmla="*/ 1071764 h 3589212"/>
                  <a:gd name="connsiteX14" fmla="*/ 2129063 w 2729264"/>
                  <a:gd name="connsiteY14" fmla="*/ 1185922 h 3589212"/>
                  <a:gd name="connsiteX15" fmla="*/ 500147 w 2729264"/>
                  <a:gd name="connsiteY15" fmla="*/ 1794014 h 3589212"/>
                  <a:gd name="connsiteX16" fmla="*/ 500147 w 2729264"/>
                  <a:gd name="connsiteY16" fmla="*/ 1794014 h 3589212"/>
                  <a:gd name="connsiteX17" fmla="*/ 500587 w 2729264"/>
                  <a:gd name="connsiteY17" fmla="*/ 1791664 h 3589212"/>
                  <a:gd name="connsiteX18" fmla="*/ 500587 w 2729264"/>
                  <a:gd name="connsiteY18" fmla="*/ 1791665 h 3589212"/>
                  <a:gd name="connsiteX19" fmla="*/ 500147 w 2729264"/>
                  <a:gd name="connsiteY19" fmla="*/ 1794014 h 3589212"/>
                  <a:gd name="connsiteX20" fmla="*/ 18617 w 2729264"/>
                  <a:gd name="connsiteY20" fmla="*/ 3538163 h 3589212"/>
                  <a:gd name="connsiteX21" fmla="*/ 78567 w 2729264"/>
                  <a:gd name="connsiteY21" fmla="*/ 3373781 h 3589212"/>
                  <a:gd name="connsiteX22" fmla="*/ 316390 w 2729264"/>
                  <a:gd name="connsiteY22" fmla="*/ 2594875 h 3589212"/>
                  <a:gd name="connsiteX23" fmla="*/ 480535 w 2729264"/>
                  <a:gd name="connsiteY23" fmla="*/ 1898740 h 3589212"/>
                  <a:gd name="connsiteX24" fmla="*/ 500147 w 2729264"/>
                  <a:gd name="connsiteY24" fmla="*/ 1794014 h 3589212"/>
                  <a:gd name="connsiteX25" fmla="*/ 501361 w 2729264"/>
                  <a:gd name="connsiteY25" fmla="*/ 1794014 h 3589212"/>
                  <a:gd name="connsiteX26" fmla="*/ 500587 w 2729264"/>
                  <a:gd name="connsiteY26" fmla="*/ 1791665 h 3589212"/>
                  <a:gd name="connsiteX27" fmla="*/ 500751 w 2729264"/>
                  <a:gd name="connsiteY27" fmla="*/ 1790790 h 3589212"/>
                  <a:gd name="connsiteX28" fmla="*/ 518081 w 2729264"/>
                  <a:gd name="connsiteY28" fmla="*/ 1738187 h 3589212"/>
                  <a:gd name="connsiteX29" fmla="*/ 1364633 w 2729264"/>
                  <a:gd name="connsiteY29" fmla="*/ 1527062 h 3589212"/>
                  <a:gd name="connsiteX30" fmla="*/ 2211185 w 2729264"/>
                  <a:gd name="connsiteY30" fmla="*/ 1738187 h 3589212"/>
                  <a:gd name="connsiteX31" fmla="*/ 2228511 w 2729264"/>
                  <a:gd name="connsiteY31" fmla="*/ 1790777 h 3589212"/>
                  <a:gd name="connsiteX32" fmla="*/ 2185466 w 2729264"/>
                  <a:gd name="connsiteY32" fmla="*/ 1560921 h 3589212"/>
                  <a:gd name="connsiteX33" fmla="*/ 2185440 w 2729264"/>
                  <a:gd name="connsiteY33" fmla="*/ 1560748 h 3589212"/>
                  <a:gd name="connsiteX34" fmla="*/ 2185467 w 2729264"/>
                  <a:gd name="connsiteY34" fmla="*/ 1560920 h 3589212"/>
                  <a:gd name="connsiteX35" fmla="*/ 2228678 w 2729264"/>
                  <a:gd name="connsiteY35" fmla="*/ 1791667 h 3589212"/>
                  <a:gd name="connsiteX36" fmla="*/ 2227904 w 2729264"/>
                  <a:gd name="connsiteY36" fmla="*/ 1794014 h 3589212"/>
                  <a:gd name="connsiteX37" fmla="*/ 2229117 w 2729264"/>
                  <a:gd name="connsiteY37" fmla="*/ 1794014 h 3589212"/>
                  <a:gd name="connsiteX38" fmla="*/ 2228777 w 2729264"/>
                  <a:gd name="connsiteY38" fmla="*/ 1792197 h 3589212"/>
                  <a:gd name="connsiteX39" fmla="*/ 2248729 w 2729264"/>
                  <a:gd name="connsiteY39" fmla="*/ 1898740 h 3589212"/>
                  <a:gd name="connsiteX40" fmla="*/ 2412874 w 2729264"/>
                  <a:gd name="connsiteY40" fmla="*/ 2594875 h 3589212"/>
                  <a:gd name="connsiteX41" fmla="*/ 2650697 w 2729264"/>
                  <a:gd name="connsiteY41" fmla="*/ 3373781 h 3589212"/>
                  <a:gd name="connsiteX42" fmla="*/ 2710643 w 2729264"/>
                  <a:gd name="connsiteY42" fmla="*/ 3538154 h 3589212"/>
                  <a:gd name="connsiteX43" fmla="*/ 2694930 w 2729264"/>
                  <a:gd name="connsiteY43" fmla="*/ 3510421 h 3589212"/>
                  <a:gd name="connsiteX44" fmla="*/ 1364633 w 2729264"/>
                  <a:gd name="connsiteY44" fmla="*/ 3218374 h 3589212"/>
                  <a:gd name="connsiteX45" fmla="*/ 34336 w 2729264"/>
                  <a:gd name="connsiteY45" fmla="*/ 3510421 h 3589212"/>
                  <a:gd name="connsiteX46" fmla="*/ 18617 w 2729264"/>
                  <a:gd name="connsiteY46" fmla="*/ 3538163 h 3589212"/>
                  <a:gd name="connsiteX47" fmla="*/ 8649 w 2729264"/>
                  <a:gd name="connsiteY47" fmla="*/ 3589212 h 3589212"/>
                  <a:gd name="connsiteX48" fmla="*/ 0 w 2729264"/>
                  <a:gd name="connsiteY48" fmla="*/ 3589212 h 3589212"/>
                  <a:gd name="connsiteX49" fmla="*/ 11929 w 2729264"/>
                  <a:gd name="connsiteY49" fmla="*/ 3556504 h 3589212"/>
                  <a:gd name="connsiteX50" fmla="*/ 6749 w 2729264"/>
                  <a:gd name="connsiteY50" fmla="*/ 3584134 h 3589212"/>
                  <a:gd name="connsiteX51" fmla="*/ 8649 w 2729264"/>
                  <a:gd name="connsiteY51" fmla="*/ 3589212 h 3589212"/>
                  <a:gd name="connsiteX52" fmla="*/ 2729264 w 2729264"/>
                  <a:gd name="connsiteY52" fmla="*/ 3589212 h 3589212"/>
                  <a:gd name="connsiteX53" fmla="*/ 2720616 w 2729264"/>
                  <a:gd name="connsiteY53" fmla="*/ 3589212 h 3589212"/>
                  <a:gd name="connsiteX54" fmla="*/ 2722517 w 2729264"/>
                  <a:gd name="connsiteY54" fmla="*/ 3584134 h 3589212"/>
                  <a:gd name="connsiteX55" fmla="*/ 2717339 w 2729264"/>
                  <a:gd name="connsiteY55" fmla="*/ 3556515 h 3589212"/>
                  <a:gd name="connsiteX56" fmla="*/ 2729264 w 2729264"/>
                  <a:gd name="connsiteY56" fmla="*/ 3589212 h 3589212"/>
                  <a:gd name="connsiteX0" fmla="*/ 674667 w 2729264"/>
                  <a:gd name="connsiteY0" fmla="*/ 0 h 3589212"/>
                  <a:gd name="connsiteX1" fmla="*/ 674667 w 2729264"/>
                  <a:gd name="connsiteY1" fmla="*/ 1 h 3589212"/>
                  <a:gd name="connsiteX2" fmla="*/ 674667 w 2729264"/>
                  <a:gd name="connsiteY2" fmla="*/ 0 h 3589212"/>
                  <a:gd name="connsiteX3" fmla="*/ 2062612 w 2729264"/>
                  <a:gd name="connsiteY3" fmla="*/ 458136 h 3589212"/>
                  <a:gd name="connsiteX4" fmla="*/ 2057947 w 2729264"/>
                  <a:gd name="connsiteY4" fmla="*/ 383685 h 3589212"/>
                  <a:gd name="connsiteX5" fmla="*/ 2057549 w 2729264"/>
                  <a:gd name="connsiteY5" fmla="*/ 353342 h 3589212"/>
                  <a:gd name="connsiteX6" fmla="*/ 2062612 w 2729264"/>
                  <a:gd name="connsiteY6" fmla="*/ 458136 h 3589212"/>
                  <a:gd name="connsiteX7" fmla="*/ 2088129 w 2729264"/>
                  <a:gd name="connsiteY7" fmla="*/ 820270 h 3589212"/>
                  <a:gd name="connsiteX8" fmla="*/ 2081385 w 2729264"/>
                  <a:gd name="connsiteY8" fmla="*/ 757765 h 3589212"/>
                  <a:gd name="connsiteX9" fmla="*/ 2077608 w 2729264"/>
                  <a:gd name="connsiteY9" fmla="*/ 697489 h 3589212"/>
                  <a:gd name="connsiteX10" fmla="*/ 2088129 w 2729264"/>
                  <a:gd name="connsiteY10" fmla="*/ 820270 h 3589212"/>
                  <a:gd name="connsiteX11" fmla="*/ 2129063 w 2729264"/>
                  <a:gd name="connsiteY11" fmla="*/ 1185922 h 3589212"/>
                  <a:gd name="connsiteX12" fmla="*/ 2123827 w 2729264"/>
                  <a:gd name="connsiteY12" fmla="*/ 1151111 h 3589212"/>
                  <a:gd name="connsiteX13" fmla="*/ 2129063 w 2729264"/>
                  <a:gd name="connsiteY13" fmla="*/ 1185922 h 3589212"/>
                  <a:gd name="connsiteX14" fmla="*/ 500147 w 2729264"/>
                  <a:gd name="connsiteY14" fmla="*/ 1794014 h 3589212"/>
                  <a:gd name="connsiteX15" fmla="*/ 500147 w 2729264"/>
                  <a:gd name="connsiteY15" fmla="*/ 1794014 h 3589212"/>
                  <a:gd name="connsiteX16" fmla="*/ 500587 w 2729264"/>
                  <a:gd name="connsiteY16" fmla="*/ 1791664 h 3589212"/>
                  <a:gd name="connsiteX17" fmla="*/ 500587 w 2729264"/>
                  <a:gd name="connsiteY17" fmla="*/ 1791665 h 3589212"/>
                  <a:gd name="connsiteX18" fmla="*/ 500147 w 2729264"/>
                  <a:gd name="connsiteY18" fmla="*/ 1794014 h 3589212"/>
                  <a:gd name="connsiteX19" fmla="*/ 18617 w 2729264"/>
                  <a:gd name="connsiteY19" fmla="*/ 3538163 h 3589212"/>
                  <a:gd name="connsiteX20" fmla="*/ 78567 w 2729264"/>
                  <a:gd name="connsiteY20" fmla="*/ 3373781 h 3589212"/>
                  <a:gd name="connsiteX21" fmla="*/ 316390 w 2729264"/>
                  <a:gd name="connsiteY21" fmla="*/ 2594875 h 3589212"/>
                  <a:gd name="connsiteX22" fmla="*/ 480535 w 2729264"/>
                  <a:gd name="connsiteY22" fmla="*/ 1898740 h 3589212"/>
                  <a:gd name="connsiteX23" fmla="*/ 500147 w 2729264"/>
                  <a:gd name="connsiteY23" fmla="*/ 1794014 h 3589212"/>
                  <a:gd name="connsiteX24" fmla="*/ 501361 w 2729264"/>
                  <a:gd name="connsiteY24" fmla="*/ 1794014 h 3589212"/>
                  <a:gd name="connsiteX25" fmla="*/ 500587 w 2729264"/>
                  <a:gd name="connsiteY25" fmla="*/ 1791665 h 3589212"/>
                  <a:gd name="connsiteX26" fmla="*/ 500751 w 2729264"/>
                  <a:gd name="connsiteY26" fmla="*/ 1790790 h 3589212"/>
                  <a:gd name="connsiteX27" fmla="*/ 518081 w 2729264"/>
                  <a:gd name="connsiteY27" fmla="*/ 1738187 h 3589212"/>
                  <a:gd name="connsiteX28" fmla="*/ 1364633 w 2729264"/>
                  <a:gd name="connsiteY28" fmla="*/ 1527062 h 3589212"/>
                  <a:gd name="connsiteX29" fmla="*/ 2211185 w 2729264"/>
                  <a:gd name="connsiteY29" fmla="*/ 1738187 h 3589212"/>
                  <a:gd name="connsiteX30" fmla="*/ 2228511 w 2729264"/>
                  <a:gd name="connsiteY30" fmla="*/ 1790777 h 3589212"/>
                  <a:gd name="connsiteX31" fmla="*/ 2185466 w 2729264"/>
                  <a:gd name="connsiteY31" fmla="*/ 1560921 h 3589212"/>
                  <a:gd name="connsiteX32" fmla="*/ 2185440 w 2729264"/>
                  <a:gd name="connsiteY32" fmla="*/ 1560748 h 3589212"/>
                  <a:gd name="connsiteX33" fmla="*/ 2185467 w 2729264"/>
                  <a:gd name="connsiteY33" fmla="*/ 1560920 h 3589212"/>
                  <a:gd name="connsiteX34" fmla="*/ 2228678 w 2729264"/>
                  <a:gd name="connsiteY34" fmla="*/ 1791667 h 3589212"/>
                  <a:gd name="connsiteX35" fmla="*/ 2227904 w 2729264"/>
                  <a:gd name="connsiteY35" fmla="*/ 1794014 h 3589212"/>
                  <a:gd name="connsiteX36" fmla="*/ 2229117 w 2729264"/>
                  <a:gd name="connsiteY36" fmla="*/ 1794014 h 3589212"/>
                  <a:gd name="connsiteX37" fmla="*/ 2228777 w 2729264"/>
                  <a:gd name="connsiteY37" fmla="*/ 1792197 h 3589212"/>
                  <a:gd name="connsiteX38" fmla="*/ 2248729 w 2729264"/>
                  <a:gd name="connsiteY38" fmla="*/ 1898740 h 3589212"/>
                  <a:gd name="connsiteX39" fmla="*/ 2412874 w 2729264"/>
                  <a:gd name="connsiteY39" fmla="*/ 2594875 h 3589212"/>
                  <a:gd name="connsiteX40" fmla="*/ 2650697 w 2729264"/>
                  <a:gd name="connsiteY40" fmla="*/ 3373781 h 3589212"/>
                  <a:gd name="connsiteX41" fmla="*/ 2710643 w 2729264"/>
                  <a:gd name="connsiteY41" fmla="*/ 3538154 h 3589212"/>
                  <a:gd name="connsiteX42" fmla="*/ 2694930 w 2729264"/>
                  <a:gd name="connsiteY42" fmla="*/ 3510421 h 3589212"/>
                  <a:gd name="connsiteX43" fmla="*/ 1364633 w 2729264"/>
                  <a:gd name="connsiteY43" fmla="*/ 3218374 h 3589212"/>
                  <a:gd name="connsiteX44" fmla="*/ 34336 w 2729264"/>
                  <a:gd name="connsiteY44" fmla="*/ 3510421 h 3589212"/>
                  <a:gd name="connsiteX45" fmla="*/ 18617 w 2729264"/>
                  <a:gd name="connsiteY45" fmla="*/ 3538163 h 3589212"/>
                  <a:gd name="connsiteX46" fmla="*/ 8649 w 2729264"/>
                  <a:gd name="connsiteY46" fmla="*/ 3589212 h 3589212"/>
                  <a:gd name="connsiteX47" fmla="*/ 0 w 2729264"/>
                  <a:gd name="connsiteY47" fmla="*/ 3589212 h 3589212"/>
                  <a:gd name="connsiteX48" fmla="*/ 11929 w 2729264"/>
                  <a:gd name="connsiteY48" fmla="*/ 3556504 h 3589212"/>
                  <a:gd name="connsiteX49" fmla="*/ 6749 w 2729264"/>
                  <a:gd name="connsiteY49" fmla="*/ 3584134 h 3589212"/>
                  <a:gd name="connsiteX50" fmla="*/ 8649 w 2729264"/>
                  <a:gd name="connsiteY50" fmla="*/ 3589212 h 3589212"/>
                  <a:gd name="connsiteX51" fmla="*/ 2729264 w 2729264"/>
                  <a:gd name="connsiteY51" fmla="*/ 3589212 h 3589212"/>
                  <a:gd name="connsiteX52" fmla="*/ 2720616 w 2729264"/>
                  <a:gd name="connsiteY52" fmla="*/ 3589212 h 3589212"/>
                  <a:gd name="connsiteX53" fmla="*/ 2722517 w 2729264"/>
                  <a:gd name="connsiteY53" fmla="*/ 3584134 h 3589212"/>
                  <a:gd name="connsiteX54" fmla="*/ 2717339 w 2729264"/>
                  <a:gd name="connsiteY54" fmla="*/ 3556515 h 3589212"/>
                  <a:gd name="connsiteX55" fmla="*/ 2729264 w 2729264"/>
                  <a:gd name="connsiteY55" fmla="*/ 3589212 h 3589212"/>
                  <a:gd name="connsiteX0" fmla="*/ 674667 w 2729264"/>
                  <a:gd name="connsiteY0" fmla="*/ 0 h 3589212"/>
                  <a:gd name="connsiteX1" fmla="*/ 674667 w 2729264"/>
                  <a:gd name="connsiteY1" fmla="*/ 1 h 3589212"/>
                  <a:gd name="connsiteX2" fmla="*/ 674667 w 2729264"/>
                  <a:gd name="connsiteY2" fmla="*/ 0 h 3589212"/>
                  <a:gd name="connsiteX3" fmla="*/ 2062612 w 2729264"/>
                  <a:gd name="connsiteY3" fmla="*/ 458136 h 3589212"/>
                  <a:gd name="connsiteX4" fmla="*/ 2057947 w 2729264"/>
                  <a:gd name="connsiteY4" fmla="*/ 383685 h 3589212"/>
                  <a:gd name="connsiteX5" fmla="*/ 2057549 w 2729264"/>
                  <a:gd name="connsiteY5" fmla="*/ 353342 h 3589212"/>
                  <a:gd name="connsiteX6" fmla="*/ 2062612 w 2729264"/>
                  <a:gd name="connsiteY6" fmla="*/ 458136 h 3589212"/>
                  <a:gd name="connsiteX7" fmla="*/ 2088129 w 2729264"/>
                  <a:gd name="connsiteY7" fmla="*/ 820270 h 3589212"/>
                  <a:gd name="connsiteX8" fmla="*/ 2081385 w 2729264"/>
                  <a:gd name="connsiteY8" fmla="*/ 757765 h 3589212"/>
                  <a:gd name="connsiteX9" fmla="*/ 2077608 w 2729264"/>
                  <a:gd name="connsiteY9" fmla="*/ 697489 h 3589212"/>
                  <a:gd name="connsiteX10" fmla="*/ 2088129 w 2729264"/>
                  <a:gd name="connsiteY10" fmla="*/ 820270 h 3589212"/>
                  <a:gd name="connsiteX11" fmla="*/ 500147 w 2729264"/>
                  <a:gd name="connsiteY11" fmla="*/ 1794014 h 3589212"/>
                  <a:gd name="connsiteX12" fmla="*/ 500147 w 2729264"/>
                  <a:gd name="connsiteY12" fmla="*/ 1794014 h 3589212"/>
                  <a:gd name="connsiteX13" fmla="*/ 500587 w 2729264"/>
                  <a:gd name="connsiteY13" fmla="*/ 1791664 h 3589212"/>
                  <a:gd name="connsiteX14" fmla="*/ 500587 w 2729264"/>
                  <a:gd name="connsiteY14" fmla="*/ 1791665 h 3589212"/>
                  <a:gd name="connsiteX15" fmla="*/ 500147 w 2729264"/>
                  <a:gd name="connsiteY15" fmla="*/ 1794014 h 3589212"/>
                  <a:gd name="connsiteX16" fmla="*/ 18617 w 2729264"/>
                  <a:gd name="connsiteY16" fmla="*/ 3538163 h 3589212"/>
                  <a:gd name="connsiteX17" fmla="*/ 78567 w 2729264"/>
                  <a:gd name="connsiteY17" fmla="*/ 3373781 h 3589212"/>
                  <a:gd name="connsiteX18" fmla="*/ 316390 w 2729264"/>
                  <a:gd name="connsiteY18" fmla="*/ 2594875 h 3589212"/>
                  <a:gd name="connsiteX19" fmla="*/ 480535 w 2729264"/>
                  <a:gd name="connsiteY19" fmla="*/ 1898740 h 3589212"/>
                  <a:gd name="connsiteX20" fmla="*/ 500147 w 2729264"/>
                  <a:gd name="connsiteY20" fmla="*/ 1794014 h 3589212"/>
                  <a:gd name="connsiteX21" fmla="*/ 501361 w 2729264"/>
                  <a:gd name="connsiteY21" fmla="*/ 1794014 h 3589212"/>
                  <a:gd name="connsiteX22" fmla="*/ 500587 w 2729264"/>
                  <a:gd name="connsiteY22" fmla="*/ 1791665 h 3589212"/>
                  <a:gd name="connsiteX23" fmla="*/ 500751 w 2729264"/>
                  <a:gd name="connsiteY23" fmla="*/ 1790790 h 3589212"/>
                  <a:gd name="connsiteX24" fmla="*/ 518081 w 2729264"/>
                  <a:gd name="connsiteY24" fmla="*/ 1738187 h 3589212"/>
                  <a:gd name="connsiteX25" fmla="*/ 1364633 w 2729264"/>
                  <a:gd name="connsiteY25" fmla="*/ 1527062 h 3589212"/>
                  <a:gd name="connsiteX26" fmla="*/ 2211185 w 2729264"/>
                  <a:gd name="connsiteY26" fmla="*/ 1738187 h 3589212"/>
                  <a:gd name="connsiteX27" fmla="*/ 2228511 w 2729264"/>
                  <a:gd name="connsiteY27" fmla="*/ 1790777 h 3589212"/>
                  <a:gd name="connsiteX28" fmla="*/ 2185466 w 2729264"/>
                  <a:gd name="connsiteY28" fmla="*/ 1560921 h 3589212"/>
                  <a:gd name="connsiteX29" fmla="*/ 2185440 w 2729264"/>
                  <a:gd name="connsiteY29" fmla="*/ 1560748 h 3589212"/>
                  <a:gd name="connsiteX30" fmla="*/ 2185467 w 2729264"/>
                  <a:gd name="connsiteY30" fmla="*/ 1560920 h 3589212"/>
                  <a:gd name="connsiteX31" fmla="*/ 2228678 w 2729264"/>
                  <a:gd name="connsiteY31" fmla="*/ 1791667 h 3589212"/>
                  <a:gd name="connsiteX32" fmla="*/ 2227904 w 2729264"/>
                  <a:gd name="connsiteY32" fmla="*/ 1794014 h 3589212"/>
                  <a:gd name="connsiteX33" fmla="*/ 2229117 w 2729264"/>
                  <a:gd name="connsiteY33" fmla="*/ 1794014 h 3589212"/>
                  <a:gd name="connsiteX34" fmla="*/ 2228777 w 2729264"/>
                  <a:gd name="connsiteY34" fmla="*/ 1792197 h 3589212"/>
                  <a:gd name="connsiteX35" fmla="*/ 2248729 w 2729264"/>
                  <a:gd name="connsiteY35" fmla="*/ 1898740 h 3589212"/>
                  <a:gd name="connsiteX36" fmla="*/ 2412874 w 2729264"/>
                  <a:gd name="connsiteY36" fmla="*/ 2594875 h 3589212"/>
                  <a:gd name="connsiteX37" fmla="*/ 2650697 w 2729264"/>
                  <a:gd name="connsiteY37" fmla="*/ 3373781 h 3589212"/>
                  <a:gd name="connsiteX38" fmla="*/ 2710643 w 2729264"/>
                  <a:gd name="connsiteY38" fmla="*/ 3538154 h 3589212"/>
                  <a:gd name="connsiteX39" fmla="*/ 2694930 w 2729264"/>
                  <a:gd name="connsiteY39" fmla="*/ 3510421 h 3589212"/>
                  <a:gd name="connsiteX40" fmla="*/ 1364633 w 2729264"/>
                  <a:gd name="connsiteY40" fmla="*/ 3218374 h 3589212"/>
                  <a:gd name="connsiteX41" fmla="*/ 34336 w 2729264"/>
                  <a:gd name="connsiteY41" fmla="*/ 3510421 h 3589212"/>
                  <a:gd name="connsiteX42" fmla="*/ 18617 w 2729264"/>
                  <a:gd name="connsiteY42" fmla="*/ 3538163 h 3589212"/>
                  <a:gd name="connsiteX43" fmla="*/ 8649 w 2729264"/>
                  <a:gd name="connsiteY43" fmla="*/ 3589212 h 3589212"/>
                  <a:gd name="connsiteX44" fmla="*/ 0 w 2729264"/>
                  <a:gd name="connsiteY44" fmla="*/ 3589212 h 3589212"/>
                  <a:gd name="connsiteX45" fmla="*/ 11929 w 2729264"/>
                  <a:gd name="connsiteY45" fmla="*/ 3556504 h 3589212"/>
                  <a:gd name="connsiteX46" fmla="*/ 6749 w 2729264"/>
                  <a:gd name="connsiteY46" fmla="*/ 3584134 h 3589212"/>
                  <a:gd name="connsiteX47" fmla="*/ 8649 w 2729264"/>
                  <a:gd name="connsiteY47" fmla="*/ 3589212 h 3589212"/>
                  <a:gd name="connsiteX48" fmla="*/ 2729264 w 2729264"/>
                  <a:gd name="connsiteY48" fmla="*/ 3589212 h 3589212"/>
                  <a:gd name="connsiteX49" fmla="*/ 2720616 w 2729264"/>
                  <a:gd name="connsiteY49" fmla="*/ 3589212 h 3589212"/>
                  <a:gd name="connsiteX50" fmla="*/ 2722517 w 2729264"/>
                  <a:gd name="connsiteY50" fmla="*/ 3584134 h 3589212"/>
                  <a:gd name="connsiteX51" fmla="*/ 2717339 w 2729264"/>
                  <a:gd name="connsiteY51" fmla="*/ 3556515 h 3589212"/>
                  <a:gd name="connsiteX52" fmla="*/ 2729264 w 2729264"/>
                  <a:gd name="connsiteY52" fmla="*/ 3589212 h 3589212"/>
                  <a:gd name="connsiteX0" fmla="*/ 674667 w 2729264"/>
                  <a:gd name="connsiteY0" fmla="*/ 0 h 3589212"/>
                  <a:gd name="connsiteX1" fmla="*/ 674667 w 2729264"/>
                  <a:gd name="connsiteY1" fmla="*/ 1 h 3589212"/>
                  <a:gd name="connsiteX2" fmla="*/ 674667 w 2729264"/>
                  <a:gd name="connsiteY2" fmla="*/ 0 h 3589212"/>
                  <a:gd name="connsiteX3" fmla="*/ 2062612 w 2729264"/>
                  <a:gd name="connsiteY3" fmla="*/ 458136 h 3589212"/>
                  <a:gd name="connsiteX4" fmla="*/ 2057947 w 2729264"/>
                  <a:gd name="connsiteY4" fmla="*/ 383685 h 3589212"/>
                  <a:gd name="connsiteX5" fmla="*/ 2057549 w 2729264"/>
                  <a:gd name="connsiteY5" fmla="*/ 353342 h 3589212"/>
                  <a:gd name="connsiteX6" fmla="*/ 2062612 w 2729264"/>
                  <a:gd name="connsiteY6" fmla="*/ 458136 h 3589212"/>
                  <a:gd name="connsiteX7" fmla="*/ 2077608 w 2729264"/>
                  <a:gd name="connsiteY7" fmla="*/ 697489 h 3589212"/>
                  <a:gd name="connsiteX8" fmla="*/ 2081385 w 2729264"/>
                  <a:gd name="connsiteY8" fmla="*/ 757765 h 3589212"/>
                  <a:gd name="connsiteX9" fmla="*/ 2077608 w 2729264"/>
                  <a:gd name="connsiteY9" fmla="*/ 697489 h 3589212"/>
                  <a:gd name="connsiteX10" fmla="*/ 500147 w 2729264"/>
                  <a:gd name="connsiteY10" fmla="*/ 1794014 h 3589212"/>
                  <a:gd name="connsiteX11" fmla="*/ 500147 w 2729264"/>
                  <a:gd name="connsiteY11" fmla="*/ 1794014 h 3589212"/>
                  <a:gd name="connsiteX12" fmla="*/ 500587 w 2729264"/>
                  <a:gd name="connsiteY12" fmla="*/ 1791664 h 3589212"/>
                  <a:gd name="connsiteX13" fmla="*/ 500587 w 2729264"/>
                  <a:gd name="connsiteY13" fmla="*/ 1791665 h 3589212"/>
                  <a:gd name="connsiteX14" fmla="*/ 500147 w 2729264"/>
                  <a:gd name="connsiteY14" fmla="*/ 1794014 h 3589212"/>
                  <a:gd name="connsiteX15" fmla="*/ 18617 w 2729264"/>
                  <a:gd name="connsiteY15" fmla="*/ 3538163 h 3589212"/>
                  <a:gd name="connsiteX16" fmla="*/ 78567 w 2729264"/>
                  <a:gd name="connsiteY16" fmla="*/ 3373781 h 3589212"/>
                  <a:gd name="connsiteX17" fmla="*/ 316390 w 2729264"/>
                  <a:gd name="connsiteY17" fmla="*/ 2594875 h 3589212"/>
                  <a:gd name="connsiteX18" fmla="*/ 480535 w 2729264"/>
                  <a:gd name="connsiteY18" fmla="*/ 1898740 h 3589212"/>
                  <a:gd name="connsiteX19" fmla="*/ 500147 w 2729264"/>
                  <a:gd name="connsiteY19" fmla="*/ 1794014 h 3589212"/>
                  <a:gd name="connsiteX20" fmla="*/ 501361 w 2729264"/>
                  <a:gd name="connsiteY20" fmla="*/ 1794014 h 3589212"/>
                  <a:gd name="connsiteX21" fmla="*/ 500587 w 2729264"/>
                  <a:gd name="connsiteY21" fmla="*/ 1791665 h 3589212"/>
                  <a:gd name="connsiteX22" fmla="*/ 500751 w 2729264"/>
                  <a:gd name="connsiteY22" fmla="*/ 1790790 h 3589212"/>
                  <a:gd name="connsiteX23" fmla="*/ 518081 w 2729264"/>
                  <a:gd name="connsiteY23" fmla="*/ 1738187 h 3589212"/>
                  <a:gd name="connsiteX24" fmla="*/ 1364633 w 2729264"/>
                  <a:gd name="connsiteY24" fmla="*/ 1527062 h 3589212"/>
                  <a:gd name="connsiteX25" fmla="*/ 2211185 w 2729264"/>
                  <a:gd name="connsiteY25" fmla="*/ 1738187 h 3589212"/>
                  <a:gd name="connsiteX26" fmla="*/ 2228511 w 2729264"/>
                  <a:gd name="connsiteY26" fmla="*/ 1790777 h 3589212"/>
                  <a:gd name="connsiteX27" fmla="*/ 2185466 w 2729264"/>
                  <a:gd name="connsiteY27" fmla="*/ 1560921 h 3589212"/>
                  <a:gd name="connsiteX28" fmla="*/ 2185440 w 2729264"/>
                  <a:gd name="connsiteY28" fmla="*/ 1560748 h 3589212"/>
                  <a:gd name="connsiteX29" fmla="*/ 2185467 w 2729264"/>
                  <a:gd name="connsiteY29" fmla="*/ 1560920 h 3589212"/>
                  <a:gd name="connsiteX30" fmla="*/ 2228678 w 2729264"/>
                  <a:gd name="connsiteY30" fmla="*/ 1791667 h 3589212"/>
                  <a:gd name="connsiteX31" fmla="*/ 2227904 w 2729264"/>
                  <a:gd name="connsiteY31" fmla="*/ 1794014 h 3589212"/>
                  <a:gd name="connsiteX32" fmla="*/ 2229117 w 2729264"/>
                  <a:gd name="connsiteY32" fmla="*/ 1794014 h 3589212"/>
                  <a:gd name="connsiteX33" fmla="*/ 2228777 w 2729264"/>
                  <a:gd name="connsiteY33" fmla="*/ 1792197 h 3589212"/>
                  <a:gd name="connsiteX34" fmla="*/ 2248729 w 2729264"/>
                  <a:gd name="connsiteY34" fmla="*/ 1898740 h 3589212"/>
                  <a:gd name="connsiteX35" fmla="*/ 2412874 w 2729264"/>
                  <a:gd name="connsiteY35" fmla="*/ 2594875 h 3589212"/>
                  <a:gd name="connsiteX36" fmla="*/ 2650697 w 2729264"/>
                  <a:gd name="connsiteY36" fmla="*/ 3373781 h 3589212"/>
                  <a:gd name="connsiteX37" fmla="*/ 2710643 w 2729264"/>
                  <a:gd name="connsiteY37" fmla="*/ 3538154 h 3589212"/>
                  <a:gd name="connsiteX38" fmla="*/ 2694930 w 2729264"/>
                  <a:gd name="connsiteY38" fmla="*/ 3510421 h 3589212"/>
                  <a:gd name="connsiteX39" fmla="*/ 1364633 w 2729264"/>
                  <a:gd name="connsiteY39" fmla="*/ 3218374 h 3589212"/>
                  <a:gd name="connsiteX40" fmla="*/ 34336 w 2729264"/>
                  <a:gd name="connsiteY40" fmla="*/ 3510421 h 3589212"/>
                  <a:gd name="connsiteX41" fmla="*/ 18617 w 2729264"/>
                  <a:gd name="connsiteY41" fmla="*/ 3538163 h 3589212"/>
                  <a:gd name="connsiteX42" fmla="*/ 8649 w 2729264"/>
                  <a:gd name="connsiteY42" fmla="*/ 3589212 h 3589212"/>
                  <a:gd name="connsiteX43" fmla="*/ 0 w 2729264"/>
                  <a:gd name="connsiteY43" fmla="*/ 3589212 h 3589212"/>
                  <a:gd name="connsiteX44" fmla="*/ 11929 w 2729264"/>
                  <a:gd name="connsiteY44" fmla="*/ 3556504 h 3589212"/>
                  <a:gd name="connsiteX45" fmla="*/ 6749 w 2729264"/>
                  <a:gd name="connsiteY45" fmla="*/ 3584134 h 3589212"/>
                  <a:gd name="connsiteX46" fmla="*/ 8649 w 2729264"/>
                  <a:gd name="connsiteY46" fmla="*/ 3589212 h 3589212"/>
                  <a:gd name="connsiteX47" fmla="*/ 2729264 w 2729264"/>
                  <a:gd name="connsiteY47" fmla="*/ 3589212 h 3589212"/>
                  <a:gd name="connsiteX48" fmla="*/ 2720616 w 2729264"/>
                  <a:gd name="connsiteY48" fmla="*/ 3589212 h 3589212"/>
                  <a:gd name="connsiteX49" fmla="*/ 2722517 w 2729264"/>
                  <a:gd name="connsiteY49" fmla="*/ 3584134 h 3589212"/>
                  <a:gd name="connsiteX50" fmla="*/ 2717339 w 2729264"/>
                  <a:gd name="connsiteY50" fmla="*/ 3556515 h 3589212"/>
                  <a:gd name="connsiteX51" fmla="*/ 2729264 w 2729264"/>
                  <a:gd name="connsiteY51" fmla="*/ 3589212 h 3589212"/>
                  <a:gd name="connsiteX0" fmla="*/ 674667 w 2729264"/>
                  <a:gd name="connsiteY0" fmla="*/ 0 h 3589212"/>
                  <a:gd name="connsiteX1" fmla="*/ 674667 w 2729264"/>
                  <a:gd name="connsiteY1" fmla="*/ 1 h 3589212"/>
                  <a:gd name="connsiteX2" fmla="*/ 674667 w 2729264"/>
                  <a:gd name="connsiteY2" fmla="*/ 0 h 3589212"/>
                  <a:gd name="connsiteX3" fmla="*/ 2062612 w 2729264"/>
                  <a:gd name="connsiteY3" fmla="*/ 458136 h 3589212"/>
                  <a:gd name="connsiteX4" fmla="*/ 2057947 w 2729264"/>
                  <a:gd name="connsiteY4" fmla="*/ 383685 h 3589212"/>
                  <a:gd name="connsiteX5" fmla="*/ 2057549 w 2729264"/>
                  <a:gd name="connsiteY5" fmla="*/ 353342 h 3589212"/>
                  <a:gd name="connsiteX6" fmla="*/ 2062612 w 2729264"/>
                  <a:gd name="connsiteY6" fmla="*/ 458136 h 3589212"/>
                  <a:gd name="connsiteX7" fmla="*/ 500147 w 2729264"/>
                  <a:gd name="connsiteY7" fmla="*/ 1794014 h 3589212"/>
                  <a:gd name="connsiteX8" fmla="*/ 500147 w 2729264"/>
                  <a:gd name="connsiteY8" fmla="*/ 1794014 h 3589212"/>
                  <a:gd name="connsiteX9" fmla="*/ 500587 w 2729264"/>
                  <a:gd name="connsiteY9" fmla="*/ 1791664 h 3589212"/>
                  <a:gd name="connsiteX10" fmla="*/ 500587 w 2729264"/>
                  <a:gd name="connsiteY10" fmla="*/ 1791665 h 3589212"/>
                  <a:gd name="connsiteX11" fmla="*/ 500147 w 2729264"/>
                  <a:gd name="connsiteY11" fmla="*/ 1794014 h 3589212"/>
                  <a:gd name="connsiteX12" fmla="*/ 18617 w 2729264"/>
                  <a:gd name="connsiteY12" fmla="*/ 3538163 h 3589212"/>
                  <a:gd name="connsiteX13" fmla="*/ 78567 w 2729264"/>
                  <a:gd name="connsiteY13" fmla="*/ 3373781 h 3589212"/>
                  <a:gd name="connsiteX14" fmla="*/ 316390 w 2729264"/>
                  <a:gd name="connsiteY14" fmla="*/ 2594875 h 3589212"/>
                  <a:gd name="connsiteX15" fmla="*/ 480535 w 2729264"/>
                  <a:gd name="connsiteY15" fmla="*/ 1898740 h 3589212"/>
                  <a:gd name="connsiteX16" fmla="*/ 500147 w 2729264"/>
                  <a:gd name="connsiteY16" fmla="*/ 1794014 h 3589212"/>
                  <a:gd name="connsiteX17" fmla="*/ 501361 w 2729264"/>
                  <a:gd name="connsiteY17" fmla="*/ 1794014 h 3589212"/>
                  <a:gd name="connsiteX18" fmla="*/ 500587 w 2729264"/>
                  <a:gd name="connsiteY18" fmla="*/ 1791665 h 3589212"/>
                  <a:gd name="connsiteX19" fmla="*/ 500751 w 2729264"/>
                  <a:gd name="connsiteY19" fmla="*/ 1790790 h 3589212"/>
                  <a:gd name="connsiteX20" fmla="*/ 518081 w 2729264"/>
                  <a:gd name="connsiteY20" fmla="*/ 1738187 h 3589212"/>
                  <a:gd name="connsiteX21" fmla="*/ 1364633 w 2729264"/>
                  <a:gd name="connsiteY21" fmla="*/ 1527062 h 3589212"/>
                  <a:gd name="connsiteX22" fmla="*/ 2211185 w 2729264"/>
                  <a:gd name="connsiteY22" fmla="*/ 1738187 h 3589212"/>
                  <a:gd name="connsiteX23" fmla="*/ 2228511 w 2729264"/>
                  <a:gd name="connsiteY23" fmla="*/ 1790777 h 3589212"/>
                  <a:gd name="connsiteX24" fmla="*/ 2185466 w 2729264"/>
                  <a:gd name="connsiteY24" fmla="*/ 1560921 h 3589212"/>
                  <a:gd name="connsiteX25" fmla="*/ 2185440 w 2729264"/>
                  <a:gd name="connsiteY25" fmla="*/ 1560748 h 3589212"/>
                  <a:gd name="connsiteX26" fmla="*/ 2185467 w 2729264"/>
                  <a:gd name="connsiteY26" fmla="*/ 1560920 h 3589212"/>
                  <a:gd name="connsiteX27" fmla="*/ 2228678 w 2729264"/>
                  <a:gd name="connsiteY27" fmla="*/ 1791667 h 3589212"/>
                  <a:gd name="connsiteX28" fmla="*/ 2227904 w 2729264"/>
                  <a:gd name="connsiteY28" fmla="*/ 1794014 h 3589212"/>
                  <a:gd name="connsiteX29" fmla="*/ 2229117 w 2729264"/>
                  <a:gd name="connsiteY29" fmla="*/ 1794014 h 3589212"/>
                  <a:gd name="connsiteX30" fmla="*/ 2228777 w 2729264"/>
                  <a:gd name="connsiteY30" fmla="*/ 1792197 h 3589212"/>
                  <a:gd name="connsiteX31" fmla="*/ 2248729 w 2729264"/>
                  <a:gd name="connsiteY31" fmla="*/ 1898740 h 3589212"/>
                  <a:gd name="connsiteX32" fmla="*/ 2412874 w 2729264"/>
                  <a:gd name="connsiteY32" fmla="*/ 2594875 h 3589212"/>
                  <a:gd name="connsiteX33" fmla="*/ 2650697 w 2729264"/>
                  <a:gd name="connsiteY33" fmla="*/ 3373781 h 3589212"/>
                  <a:gd name="connsiteX34" fmla="*/ 2710643 w 2729264"/>
                  <a:gd name="connsiteY34" fmla="*/ 3538154 h 3589212"/>
                  <a:gd name="connsiteX35" fmla="*/ 2694930 w 2729264"/>
                  <a:gd name="connsiteY35" fmla="*/ 3510421 h 3589212"/>
                  <a:gd name="connsiteX36" fmla="*/ 1364633 w 2729264"/>
                  <a:gd name="connsiteY36" fmla="*/ 3218374 h 3589212"/>
                  <a:gd name="connsiteX37" fmla="*/ 34336 w 2729264"/>
                  <a:gd name="connsiteY37" fmla="*/ 3510421 h 3589212"/>
                  <a:gd name="connsiteX38" fmla="*/ 18617 w 2729264"/>
                  <a:gd name="connsiteY38" fmla="*/ 3538163 h 3589212"/>
                  <a:gd name="connsiteX39" fmla="*/ 8649 w 2729264"/>
                  <a:gd name="connsiteY39" fmla="*/ 3589212 h 3589212"/>
                  <a:gd name="connsiteX40" fmla="*/ 0 w 2729264"/>
                  <a:gd name="connsiteY40" fmla="*/ 3589212 h 3589212"/>
                  <a:gd name="connsiteX41" fmla="*/ 11929 w 2729264"/>
                  <a:gd name="connsiteY41" fmla="*/ 3556504 h 3589212"/>
                  <a:gd name="connsiteX42" fmla="*/ 6749 w 2729264"/>
                  <a:gd name="connsiteY42" fmla="*/ 3584134 h 3589212"/>
                  <a:gd name="connsiteX43" fmla="*/ 8649 w 2729264"/>
                  <a:gd name="connsiteY43" fmla="*/ 3589212 h 3589212"/>
                  <a:gd name="connsiteX44" fmla="*/ 2729264 w 2729264"/>
                  <a:gd name="connsiteY44" fmla="*/ 3589212 h 3589212"/>
                  <a:gd name="connsiteX45" fmla="*/ 2720616 w 2729264"/>
                  <a:gd name="connsiteY45" fmla="*/ 3589212 h 3589212"/>
                  <a:gd name="connsiteX46" fmla="*/ 2722517 w 2729264"/>
                  <a:gd name="connsiteY46" fmla="*/ 3584134 h 3589212"/>
                  <a:gd name="connsiteX47" fmla="*/ 2717339 w 2729264"/>
                  <a:gd name="connsiteY47" fmla="*/ 3556515 h 3589212"/>
                  <a:gd name="connsiteX48" fmla="*/ 2729264 w 2729264"/>
                  <a:gd name="connsiteY48" fmla="*/ 3589212 h 3589212"/>
                  <a:gd name="connsiteX0" fmla="*/ 674667 w 2729264"/>
                  <a:gd name="connsiteY0" fmla="*/ 0 h 3589212"/>
                  <a:gd name="connsiteX1" fmla="*/ 674667 w 2729264"/>
                  <a:gd name="connsiteY1" fmla="*/ 1 h 3589212"/>
                  <a:gd name="connsiteX2" fmla="*/ 674667 w 2729264"/>
                  <a:gd name="connsiteY2" fmla="*/ 0 h 3589212"/>
                  <a:gd name="connsiteX3" fmla="*/ 2057549 w 2729264"/>
                  <a:gd name="connsiteY3" fmla="*/ 353342 h 3589212"/>
                  <a:gd name="connsiteX4" fmla="*/ 2057947 w 2729264"/>
                  <a:gd name="connsiteY4" fmla="*/ 383685 h 3589212"/>
                  <a:gd name="connsiteX5" fmla="*/ 2057549 w 2729264"/>
                  <a:gd name="connsiteY5" fmla="*/ 353342 h 3589212"/>
                  <a:gd name="connsiteX6" fmla="*/ 500147 w 2729264"/>
                  <a:gd name="connsiteY6" fmla="*/ 1794014 h 3589212"/>
                  <a:gd name="connsiteX7" fmla="*/ 500147 w 2729264"/>
                  <a:gd name="connsiteY7" fmla="*/ 1794014 h 3589212"/>
                  <a:gd name="connsiteX8" fmla="*/ 500587 w 2729264"/>
                  <a:gd name="connsiteY8" fmla="*/ 1791664 h 3589212"/>
                  <a:gd name="connsiteX9" fmla="*/ 500587 w 2729264"/>
                  <a:gd name="connsiteY9" fmla="*/ 1791665 h 3589212"/>
                  <a:gd name="connsiteX10" fmla="*/ 500147 w 2729264"/>
                  <a:gd name="connsiteY10" fmla="*/ 1794014 h 3589212"/>
                  <a:gd name="connsiteX11" fmla="*/ 18617 w 2729264"/>
                  <a:gd name="connsiteY11" fmla="*/ 3538163 h 3589212"/>
                  <a:gd name="connsiteX12" fmla="*/ 78567 w 2729264"/>
                  <a:gd name="connsiteY12" fmla="*/ 3373781 h 3589212"/>
                  <a:gd name="connsiteX13" fmla="*/ 316390 w 2729264"/>
                  <a:gd name="connsiteY13" fmla="*/ 2594875 h 3589212"/>
                  <a:gd name="connsiteX14" fmla="*/ 480535 w 2729264"/>
                  <a:gd name="connsiteY14" fmla="*/ 1898740 h 3589212"/>
                  <a:gd name="connsiteX15" fmla="*/ 500147 w 2729264"/>
                  <a:gd name="connsiteY15" fmla="*/ 1794014 h 3589212"/>
                  <a:gd name="connsiteX16" fmla="*/ 501361 w 2729264"/>
                  <a:gd name="connsiteY16" fmla="*/ 1794014 h 3589212"/>
                  <a:gd name="connsiteX17" fmla="*/ 500587 w 2729264"/>
                  <a:gd name="connsiteY17" fmla="*/ 1791665 h 3589212"/>
                  <a:gd name="connsiteX18" fmla="*/ 500751 w 2729264"/>
                  <a:gd name="connsiteY18" fmla="*/ 1790790 h 3589212"/>
                  <a:gd name="connsiteX19" fmla="*/ 518081 w 2729264"/>
                  <a:gd name="connsiteY19" fmla="*/ 1738187 h 3589212"/>
                  <a:gd name="connsiteX20" fmla="*/ 1364633 w 2729264"/>
                  <a:gd name="connsiteY20" fmla="*/ 1527062 h 3589212"/>
                  <a:gd name="connsiteX21" fmla="*/ 2211185 w 2729264"/>
                  <a:gd name="connsiteY21" fmla="*/ 1738187 h 3589212"/>
                  <a:gd name="connsiteX22" fmla="*/ 2228511 w 2729264"/>
                  <a:gd name="connsiteY22" fmla="*/ 1790777 h 3589212"/>
                  <a:gd name="connsiteX23" fmla="*/ 2185466 w 2729264"/>
                  <a:gd name="connsiteY23" fmla="*/ 1560921 h 3589212"/>
                  <a:gd name="connsiteX24" fmla="*/ 2185440 w 2729264"/>
                  <a:gd name="connsiteY24" fmla="*/ 1560748 h 3589212"/>
                  <a:gd name="connsiteX25" fmla="*/ 2185467 w 2729264"/>
                  <a:gd name="connsiteY25" fmla="*/ 1560920 h 3589212"/>
                  <a:gd name="connsiteX26" fmla="*/ 2228678 w 2729264"/>
                  <a:gd name="connsiteY26" fmla="*/ 1791667 h 3589212"/>
                  <a:gd name="connsiteX27" fmla="*/ 2227904 w 2729264"/>
                  <a:gd name="connsiteY27" fmla="*/ 1794014 h 3589212"/>
                  <a:gd name="connsiteX28" fmla="*/ 2229117 w 2729264"/>
                  <a:gd name="connsiteY28" fmla="*/ 1794014 h 3589212"/>
                  <a:gd name="connsiteX29" fmla="*/ 2228777 w 2729264"/>
                  <a:gd name="connsiteY29" fmla="*/ 1792197 h 3589212"/>
                  <a:gd name="connsiteX30" fmla="*/ 2248729 w 2729264"/>
                  <a:gd name="connsiteY30" fmla="*/ 1898740 h 3589212"/>
                  <a:gd name="connsiteX31" fmla="*/ 2412874 w 2729264"/>
                  <a:gd name="connsiteY31" fmla="*/ 2594875 h 3589212"/>
                  <a:gd name="connsiteX32" fmla="*/ 2650697 w 2729264"/>
                  <a:gd name="connsiteY32" fmla="*/ 3373781 h 3589212"/>
                  <a:gd name="connsiteX33" fmla="*/ 2710643 w 2729264"/>
                  <a:gd name="connsiteY33" fmla="*/ 3538154 h 3589212"/>
                  <a:gd name="connsiteX34" fmla="*/ 2694930 w 2729264"/>
                  <a:gd name="connsiteY34" fmla="*/ 3510421 h 3589212"/>
                  <a:gd name="connsiteX35" fmla="*/ 1364633 w 2729264"/>
                  <a:gd name="connsiteY35" fmla="*/ 3218374 h 3589212"/>
                  <a:gd name="connsiteX36" fmla="*/ 34336 w 2729264"/>
                  <a:gd name="connsiteY36" fmla="*/ 3510421 h 3589212"/>
                  <a:gd name="connsiteX37" fmla="*/ 18617 w 2729264"/>
                  <a:gd name="connsiteY37" fmla="*/ 3538163 h 3589212"/>
                  <a:gd name="connsiteX38" fmla="*/ 8649 w 2729264"/>
                  <a:gd name="connsiteY38" fmla="*/ 3589212 h 3589212"/>
                  <a:gd name="connsiteX39" fmla="*/ 0 w 2729264"/>
                  <a:gd name="connsiteY39" fmla="*/ 3589212 h 3589212"/>
                  <a:gd name="connsiteX40" fmla="*/ 11929 w 2729264"/>
                  <a:gd name="connsiteY40" fmla="*/ 3556504 h 3589212"/>
                  <a:gd name="connsiteX41" fmla="*/ 6749 w 2729264"/>
                  <a:gd name="connsiteY41" fmla="*/ 3584134 h 3589212"/>
                  <a:gd name="connsiteX42" fmla="*/ 8649 w 2729264"/>
                  <a:gd name="connsiteY42" fmla="*/ 3589212 h 3589212"/>
                  <a:gd name="connsiteX43" fmla="*/ 2729264 w 2729264"/>
                  <a:gd name="connsiteY43" fmla="*/ 3589212 h 3589212"/>
                  <a:gd name="connsiteX44" fmla="*/ 2720616 w 2729264"/>
                  <a:gd name="connsiteY44" fmla="*/ 3589212 h 3589212"/>
                  <a:gd name="connsiteX45" fmla="*/ 2722517 w 2729264"/>
                  <a:gd name="connsiteY45" fmla="*/ 3584134 h 3589212"/>
                  <a:gd name="connsiteX46" fmla="*/ 2717339 w 2729264"/>
                  <a:gd name="connsiteY46" fmla="*/ 3556515 h 3589212"/>
                  <a:gd name="connsiteX47" fmla="*/ 2729264 w 2729264"/>
                  <a:gd name="connsiteY47" fmla="*/ 3589212 h 3589212"/>
                  <a:gd name="connsiteX0" fmla="*/ 674667 w 2729264"/>
                  <a:gd name="connsiteY0" fmla="*/ 0 h 3589212"/>
                  <a:gd name="connsiteX1" fmla="*/ 674667 w 2729264"/>
                  <a:gd name="connsiteY1" fmla="*/ 1 h 3589212"/>
                  <a:gd name="connsiteX2" fmla="*/ 674667 w 2729264"/>
                  <a:gd name="connsiteY2" fmla="*/ 0 h 3589212"/>
                  <a:gd name="connsiteX3" fmla="*/ 500147 w 2729264"/>
                  <a:gd name="connsiteY3" fmla="*/ 1794014 h 3589212"/>
                  <a:gd name="connsiteX4" fmla="*/ 500147 w 2729264"/>
                  <a:gd name="connsiteY4" fmla="*/ 1794014 h 3589212"/>
                  <a:gd name="connsiteX5" fmla="*/ 500587 w 2729264"/>
                  <a:gd name="connsiteY5" fmla="*/ 1791664 h 3589212"/>
                  <a:gd name="connsiteX6" fmla="*/ 500587 w 2729264"/>
                  <a:gd name="connsiteY6" fmla="*/ 1791665 h 3589212"/>
                  <a:gd name="connsiteX7" fmla="*/ 500147 w 2729264"/>
                  <a:gd name="connsiteY7" fmla="*/ 1794014 h 3589212"/>
                  <a:gd name="connsiteX8" fmla="*/ 18617 w 2729264"/>
                  <a:gd name="connsiteY8" fmla="*/ 3538163 h 3589212"/>
                  <a:gd name="connsiteX9" fmla="*/ 78567 w 2729264"/>
                  <a:gd name="connsiteY9" fmla="*/ 3373781 h 3589212"/>
                  <a:gd name="connsiteX10" fmla="*/ 316390 w 2729264"/>
                  <a:gd name="connsiteY10" fmla="*/ 2594875 h 3589212"/>
                  <a:gd name="connsiteX11" fmla="*/ 480535 w 2729264"/>
                  <a:gd name="connsiteY11" fmla="*/ 1898740 h 3589212"/>
                  <a:gd name="connsiteX12" fmla="*/ 500147 w 2729264"/>
                  <a:gd name="connsiteY12" fmla="*/ 1794014 h 3589212"/>
                  <a:gd name="connsiteX13" fmla="*/ 501361 w 2729264"/>
                  <a:gd name="connsiteY13" fmla="*/ 1794014 h 3589212"/>
                  <a:gd name="connsiteX14" fmla="*/ 500587 w 2729264"/>
                  <a:gd name="connsiteY14" fmla="*/ 1791665 h 3589212"/>
                  <a:gd name="connsiteX15" fmla="*/ 500751 w 2729264"/>
                  <a:gd name="connsiteY15" fmla="*/ 1790790 h 3589212"/>
                  <a:gd name="connsiteX16" fmla="*/ 518081 w 2729264"/>
                  <a:gd name="connsiteY16" fmla="*/ 1738187 h 3589212"/>
                  <a:gd name="connsiteX17" fmla="*/ 1364633 w 2729264"/>
                  <a:gd name="connsiteY17" fmla="*/ 1527062 h 3589212"/>
                  <a:gd name="connsiteX18" fmla="*/ 2211185 w 2729264"/>
                  <a:gd name="connsiteY18" fmla="*/ 1738187 h 3589212"/>
                  <a:gd name="connsiteX19" fmla="*/ 2228511 w 2729264"/>
                  <a:gd name="connsiteY19" fmla="*/ 1790777 h 3589212"/>
                  <a:gd name="connsiteX20" fmla="*/ 2185466 w 2729264"/>
                  <a:gd name="connsiteY20" fmla="*/ 1560921 h 3589212"/>
                  <a:gd name="connsiteX21" fmla="*/ 2185440 w 2729264"/>
                  <a:gd name="connsiteY21" fmla="*/ 1560748 h 3589212"/>
                  <a:gd name="connsiteX22" fmla="*/ 2185467 w 2729264"/>
                  <a:gd name="connsiteY22" fmla="*/ 1560920 h 3589212"/>
                  <a:gd name="connsiteX23" fmla="*/ 2228678 w 2729264"/>
                  <a:gd name="connsiteY23" fmla="*/ 1791667 h 3589212"/>
                  <a:gd name="connsiteX24" fmla="*/ 2227904 w 2729264"/>
                  <a:gd name="connsiteY24" fmla="*/ 1794014 h 3589212"/>
                  <a:gd name="connsiteX25" fmla="*/ 2229117 w 2729264"/>
                  <a:gd name="connsiteY25" fmla="*/ 1794014 h 3589212"/>
                  <a:gd name="connsiteX26" fmla="*/ 2228777 w 2729264"/>
                  <a:gd name="connsiteY26" fmla="*/ 1792197 h 3589212"/>
                  <a:gd name="connsiteX27" fmla="*/ 2248729 w 2729264"/>
                  <a:gd name="connsiteY27" fmla="*/ 1898740 h 3589212"/>
                  <a:gd name="connsiteX28" fmla="*/ 2412874 w 2729264"/>
                  <a:gd name="connsiteY28" fmla="*/ 2594875 h 3589212"/>
                  <a:gd name="connsiteX29" fmla="*/ 2650697 w 2729264"/>
                  <a:gd name="connsiteY29" fmla="*/ 3373781 h 3589212"/>
                  <a:gd name="connsiteX30" fmla="*/ 2710643 w 2729264"/>
                  <a:gd name="connsiteY30" fmla="*/ 3538154 h 3589212"/>
                  <a:gd name="connsiteX31" fmla="*/ 2694930 w 2729264"/>
                  <a:gd name="connsiteY31" fmla="*/ 3510421 h 3589212"/>
                  <a:gd name="connsiteX32" fmla="*/ 1364633 w 2729264"/>
                  <a:gd name="connsiteY32" fmla="*/ 3218374 h 3589212"/>
                  <a:gd name="connsiteX33" fmla="*/ 34336 w 2729264"/>
                  <a:gd name="connsiteY33" fmla="*/ 3510421 h 3589212"/>
                  <a:gd name="connsiteX34" fmla="*/ 18617 w 2729264"/>
                  <a:gd name="connsiteY34" fmla="*/ 3538163 h 3589212"/>
                  <a:gd name="connsiteX35" fmla="*/ 8649 w 2729264"/>
                  <a:gd name="connsiteY35" fmla="*/ 3589212 h 3589212"/>
                  <a:gd name="connsiteX36" fmla="*/ 0 w 2729264"/>
                  <a:gd name="connsiteY36" fmla="*/ 3589212 h 3589212"/>
                  <a:gd name="connsiteX37" fmla="*/ 11929 w 2729264"/>
                  <a:gd name="connsiteY37" fmla="*/ 3556504 h 3589212"/>
                  <a:gd name="connsiteX38" fmla="*/ 6749 w 2729264"/>
                  <a:gd name="connsiteY38" fmla="*/ 3584134 h 3589212"/>
                  <a:gd name="connsiteX39" fmla="*/ 8649 w 2729264"/>
                  <a:gd name="connsiteY39" fmla="*/ 3589212 h 3589212"/>
                  <a:gd name="connsiteX40" fmla="*/ 2729264 w 2729264"/>
                  <a:gd name="connsiteY40" fmla="*/ 3589212 h 3589212"/>
                  <a:gd name="connsiteX41" fmla="*/ 2720616 w 2729264"/>
                  <a:gd name="connsiteY41" fmla="*/ 3589212 h 3589212"/>
                  <a:gd name="connsiteX42" fmla="*/ 2722517 w 2729264"/>
                  <a:gd name="connsiteY42" fmla="*/ 3584134 h 3589212"/>
                  <a:gd name="connsiteX43" fmla="*/ 2717339 w 2729264"/>
                  <a:gd name="connsiteY43" fmla="*/ 3556515 h 3589212"/>
                  <a:gd name="connsiteX44" fmla="*/ 2729264 w 2729264"/>
                  <a:gd name="connsiteY44" fmla="*/ 3589212 h 3589212"/>
                  <a:gd name="connsiteX0" fmla="*/ 500147 w 2729264"/>
                  <a:gd name="connsiteY0" fmla="*/ 266952 h 2062150"/>
                  <a:gd name="connsiteX1" fmla="*/ 500147 w 2729264"/>
                  <a:gd name="connsiteY1" fmla="*/ 266952 h 2062150"/>
                  <a:gd name="connsiteX2" fmla="*/ 500587 w 2729264"/>
                  <a:gd name="connsiteY2" fmla="*/ 264602 h 2062150"/>
                  <a:gd name="connsiteX3" fmla="*/ 500587 w 2729264"/>
                  <a:gd name="connsiteY3" fmla="*/ 264603 h 2062150"/>
                  <a:gd name="connsiteX4" fmla="*/ 500147 w 2729264"/>
                  <a:gd name="connsiteY4" fmla="*/ 266952 h 2062150"/>
                  <a:gd name="connsiteX5" fmla="*/ 18617 w 2729264"/>
                  <a:gd name="connsiteY5" fmla="*/ 2011101 h 2062150"/>
                  <a:gd name="connsiteX6" fmla="*/ 78567 w 2729264"/>
                  <a:gd name="connsiteY6" fmla="*/ 1846719 h 2062150"/>
                  <a:gd name="connsiteX7" fmla="*/ 316390 w 2729264"/>
                  <a:gd name="connsiteY7" fmla="*/ 1067813 h 2062150"/>
                  <a:gd name="connsiteX8" fmla="*/ 480535 w 2729264"/>
                  <a:gd name="connsiteY8" fmla="*/ 371678 h 2062150"/>
                  <a:gd name="connsiteX9" fmla="*/ 500147 w 2729264"/>
                  <a:gd name="connsiteY9" fmla="*/ 266952 h 2062150"/>
                  <a:gd name="connsiteX10" fmla="*/ 501361 w 2729264"/>
                  <a:gd name="connsiteY10" fmla="*/ 266952 h 2062150"/>
                  <a:gd name="connsiteX11" fmla="*/ 500587 w 2729264"/>
                  <a:gd name="connsiteY11" fmla="*/ 264603 h 2062150"/>
                  <a:gd name="connsiteX12" fmla="*/ 500751 w 2729264"/>
                  <a:gd name="connsiteY12" fmla="*/ 263728 h 2062150"/>
                  <a:gd name="connsiteX13" fmla="*/ 518081 w 2729264"/>
                  <a:gd name="connsiteY13" fmla="*/ 211125 h 2062150"/>
                  <a:gd name="connsiteX14" fmla="*/ 1364633 w 2729264"/>
                  <a:gd name="connsiteY14" fmla="*/ 0 h 2062150"/>
                  <a:gd name="connsiteX15" fmla="*/ 2211185 w 2729264"/>
                  <a:gd name="connsiteY15" fmla="*/ 211125 h 2062150"/>
                  <a:gd name="connsiteX16" fmla="*/ 2228511 w 2729264"/>
                  <a:gd name="connsiteY16" fmla="*/ 263715 h 2062150"/>
                  <a:gd name="connsiteX17" fmla="*/ 2185466 w 2729264"/>
                  <a:gd name="connsiteY17" fmla="*/ 33859 h 2062150"/>
                  <a:gd name="connsiteX18" fmla="*/ 2185440 w 2729264"/>
                  <a:gd name="connsiteY18" fmla="*/ 33686 h 2062150"/>
                  <a:gd name="connsiteX19" fmla="*/ 2185467 w 2729264"/>
                  <a:gd name="connsiteY19" fmla="*/ 33858 h 2062150"/>
                  <a:gd name="connsiteX20" fmla="*/ 2228678 w 2729264"/>
                  <a:gd name="connsiteY20" fmla="*/ 264605 h 2062150"/>
                  <a:gd name="connsiteX21" fmla="*/ 2227904 w 2729264"/>
                  <a:gd name="connsiteY21" fmla="*/ 266952 h 2062150"/>
                  <a:gd name="connsiteX22" fmla="*/ 2229117 w 2729264"/>
                  <a:gd name="connsiteY22" fmla="*/ 266952 h 2062150"/>
                  <a:gd name="connsiteX23" fmla="*/ 2228777 w 2729264"/>
                  <a:gd name="connsiteY23" fmla="*/ 265135 h 2062150"/>
                  <a:gd name="connsiteX24" fmla="*/ 2248729 w 2729264"/>
                  <a:gd name="connsiteY24" fmla="*/ 371678 h 2062150"/>
                  <a:gd name="connsiteX25" fmla="*/ 2412874 w 2729264"/>
                  <a:gd name="connsiteY25" fmla="*/ 1067813 h 2062150"/>
                  <a:gd name="connsiteX26" fmla="*/ 2650697 w 2729264"/>
                  <a:gd name="connsiteY26" fmla="*/ 1846719 h 2062150"/>
                  <a:gd name="connsiteX27" fmla="*/ 2710643 w 2729264"/>
                  <a:gd name="connsiteY27" fmla="*/ 2011092 h 2062150"/>
                  <a:gd name="connsiteX28" fmla="*/ 2694930 w 2729264"/>
                  <a:gd name="connsiteY28" fmla="*/ 1983359 h 2062150"/>
                  <a:gd name="connsiteX29" fmla="*/ 1364633 w 2729264"/>
                  <a:gd name="connsiteY29" fmla="*/ 1691312 h 2062150"/>
                  <a:gd name="connsiteX30" fmla="*/ 34336 w 2729264"/>
                  <a:gd name="connsiteY30" fmla="*/ 1983359 h 2062150"/>
                  <a:gd name="connsiteX31" fmla="*/ 18617 w 2729264"/>
                  <a:gd name="connsiteY31" fmla="*/ 2011101 h 2062150"/>
                  <a:gd name="connsiteX32" fmla="*/ 8649 w 2729264"/>
                  <a:gd name="connsiteY32" fmla="*/ 2062150 h 2062150"/>
                  <a:gd name="connsiteX33" fmla="*/ 0 w 2729264"/>
                  <a:gd name="connsiteY33" fmla="*/ 2062150 h 2062150"/>
                  <a:gd name="connsiteX34" fmla="*/ 11929 w 2729264"/>
                  <a:gd name="connsiteY34" fmla="*/ 2029442 h 2062150"/>
                  <a:gd name="connsiteX35" fmla="*/ 6749 w 2729264"/>
                  <a:gd name="connsiteY35" fmla="*/ 2057072 h 2062150"/>
                  <a:gd name="connsiteX36" fmla="*/ 8649 w 2729264"/>
                  <a:gd name="connsiteY36" fmla="*/ 2062150 h 2062150"/>
                  <a:gd name="connsiteX37" fmla="*/ 2729264 w 2729264"/>
                  <a:gd name="connsiteY37" fmla="*/ 2062150 h 2062150"/>
                  <a:gd name="connsiteX38" fmla="*/ 2720616 w 2729264"/>
                  <a:gd name="connsiteY38" fmla="*/ 2062150 h 2062150"/>
                  <a:gd name="connsiteX39" fmla="*/ 2722517 w 2729264"/>
                  <a:gd name="connsiteY39" fmla="*/ 2057072 h 2062150"/>
                  <a:gd name="connsiteX40" fmla="*/ 2717339 w 2729264"/>
                  <a:gd name="connsiteY40" fmla="*/ 2029453 h 2062150"/>
                  <a:gd name="connsiteX41" fmla="*/ 2729264 w 2729264"/>
                  <a:gd name="connsiteY41" fmla="*/ 2062150 h 2062150"/>
                  <a:gd name="connsiteX0" fmla="*/ 500147 w 2729264"/>
                  <a:gd name="connsiteY0" fmla="*/ 266952 h 2062150"/>
                  <a:gd name="connsiteX1" fmla="*/ 500147 w 2729264"/>
                  <a:gd name="connsiteY1" fmla="*/ 266952 h 2062150"/>
                  <a:gd name="connsiteX2" fmla="*/ 500587 w 2729264"/>
                  <a:gd name="connsiteY2" fmla="*/ 264602 h 2062150"/>
                  <a:gd name="connsiteX3" fmla="*/ 500587 w 2729264"/>
                  <a:gd name="connsiteY3" fmla="*/ 264603 h 2062150"/>
                  <a:gd name="connsiteX4" fmla="*/ 500147 w 2729264"/>
                  <a:gd name="connsiteY4" fmla="*/ 266952 h 2062150"/>
                  <a:gd name="connsiteX5" fmla="*/ 18617 w 2729264"/>
                  <a:gd name="connsiteY5" fmla="*/ 2011101 h 2062150"/>
                  <a:gd name="connsiteX6" fmla="*/ 78567 w 2729264"/>
                  <a:gd name="connsiteY6" fmla="*/ 1846719 h 2062150"/>
                  <a:gd name="connsiteX7" fmla="*/ 316390 w 2729264"/>
                  <a:gd name="connsiteY7" fmla="*/ 1067813 h 2062150"/>
                  <a:gd name="connsiteX8" fmla="*/ 480535 w 2729264"/>
                  <a:gd name="connsiteY8" fmla="*/ 371678 h 2062150"/>
                  <a:gd name="connsiteX9" fmla="*/ 500147 w 2729264"/>
                  <a:gd name="connsiteY9" fmla="*/ 266952 h 2062150"/>
                  <a:gd name="connsiteX10" fmla="*/ 501361 w 2729264"/>
                  <a:gd name="connsiteY10" fmla="*/ 266952 h 2062150"/>
                  <a:gd name="connsiteX11" fmla="*/ 500587 w 2729264"/>
                  <a:gd name="connsiteY11" fmla="*/ 264603 h 2062150"/>
                  <a:gd name="connsiteX12" fmla="*/ 500751 w 2729264"/>
                  <a:gd name="connsiteY12" fmla="*/ 263728 h 2062150"/>
                  <a:gd name="connsiteX13" fmla="*/ 518081 w 2729264"/>
                  <a:gd name="connsiteY13" fmla="*/ 211125 h 2062150"/>
                  <a:gd name="connsiteX14" fmla="*/ 1364633 w 2729264"/>
                  <a:gd name="connsiteY14" fmla="*/ 0 h 2062150"/>
                  <a:gd name="connsiteX15" fmla="*/ 2211185 w 2729264"/>
                  <a:gd name="connsiteY15" fmla="*/ 211125 h 2062150"/>
                  <a:gd name="connsiteX16" fmla="*/ 2228511 w 2729264"/>
                  <a:gd name="connsiteY16" fmla="*/ 263715 h 2062150"/>
                  <a:gd name="connsiteX17" fmla="*/ 2185466 w 2729264"/>
                  <a:gd name="connsiteY17" fmla="*/ 33859 h 2062150"/>
                  <a:gd name="connsiteX18" fmla="*/ 2185440 w 2729264"/>
                  <a:gd name="connsiteY18" fmla="*/ 33686 h 2062150"/>
                  <a:gd name="connsiteX19" fmla="*/ 2228678 w 2729264"/>
                  <a:gd name="connsiteY19" fmla="*/ 264605 h 2062150"/>
                  <a:gd name="connsiteX20" fmla="*/ 2227904 w 2729264"/>
                  <a:gd name="connsiteY20" fmla="*/ 266952 h 2062150"/>
                  <a:gd name="connsiteX21" fmla="*/ 2229117 w 2729264"/>
                  <a:gd name="connsiteY21" fmla="*/ 266952 h 2062150"/>
                  <a:gd name="connsiteX22" fmla="*/ 2228777 w 2729264"/>
                  <a:gd name="connsiteY22" fmla="*/ 265135 h 2062150"/>
                  <a:gd name="connsiteX23" fmla="*/ 2248729 w 2729264"/>
                  <a:gd name="connsiteY23" fmla="*/ 371678 h 2062150"/>
                  <a:gd name="connsiteX24" fmla="*/ 2412874 w 2729264"/>
                  <a:gd name="connsiteY24" fmla="*/ 1067813 h 2062150"/>
                  <a:gd name="connsiteX25" fmla="*/ 2650697 w 2729264"/>
                  <a:gd name="connsiteY25" fmla="*/ 1846719 h 2062150"/>
                  <a:gd name="connsiteX26" fmla="*/ 2710643 w 2729264"/>
                  <a:gd name="connsiteY26" fmla="*/ 2011092 h 2062150"/>
                  <a:gd name="connsiteX27" fmla="*/ 2694930 w 2729264"/>
                  <a:gd name="connsiteY27" fmla="*/ 1983359 h 2062150"/>
                  <a:gd name="connsiteX28" fmla="*/ 1364633 w 2729264"/>
                  <a:gd name="connsiteY28" fmla="*/ 1691312 h 2062150"/>
                  <a:gd name="connsiteX29" fmla="*/ 34336 w 2729264"/>
                  <a:gd name="connsiteY29" fmla="*/ 1983359 h 2062150"/>
                  <a:gd name="connsiteX30" fmla="*/ 18617 w 2729264"/>
                  <a:gd name="connsiteY30" fmla="*/ 2011101 h 2062150"/>
                  <a:gd name="connsiteX31" fmla="*/ 8649 w 2729264"/>
                  <a:gd name="connsiteY31" fmla="*/ 2062150 h 2062150"/>
                  <a:gd name="connsiteX32" fmla="*/ 0 w 2729264"/>
                  <a:gd name="connsiteY32" fmla="*/ 2062150 h 2062150"/>
                  <a:gd name="connsiteX33" fmla="*/ 11929 w 2729264"/>
                  <a:gd name="connsiteY33" fmla="*/ 2029442 h 2062150"/>
                  <a:gd name="connsiteX34" fmla="*/ 6749 w 2729264"/>
                  <a:gd name="connsiteY34" fmla="*/ 2057072 h 2062150"/>
                  <a:gd name="connsiteX35" fmla="*/ 8649 w 2729264"/>
                  <a:gd name="connsiteY35" fmla="*/ 2062150 h 2062150"/>
                  <a:gd name="connsiteX36" fmla="*/ 2729264 w 2729264"/>
                  <a:gd name="connsiteY36" fmla="*/ 2062150 h 2062150"/>
                  <a:gd name="connsiteX37" fmla="*/ 2720616 w 2729264"/>
                  <a:gd name="connsiteY37" fmla="*/ 2062150 h 2062150"/>
                  <a:gd name="connsiteX38" fmla="*/ 2722517 w 2729264"/>
                  <a:gd name="connsiteY38" fmla="*/ 2057072 h 2062150"/>
                  <a:gd name="connsiteX39" fmla="*/ 2717339 w 2729264"/>
                  <a:gd name="connsiteY39" fmla="*/ 2029453 h 2062150"/>
                  <a:gd name="connsiteX40" fmla="*/ 2729264 w 2729264"/>
                  <a:gd name="connsiteY40" fmla="*/ 2062150 h 2062150"/>
                  <a:gd name="connsiteX0" fmla="*/ 500147 w 2729264"/>
                  <a:gd name="connsiteY0" fmla="*/ 266952 h 2062150"/>
                  <a:gd name="connsiteX1" fmla="*/ 500147 w 2729264"/>
                  <a:gd name="connsiteY1" fmla="*/ 266952 h 2062150"/>
                  <a:gd name="connsiteX2" fmla="*/ 500587 w 2729264"/>
                  <a:gd name="connsiteY2" fmla="*/ 264602 h 2062150"/>
                  <a:gd name="connsiteX3" fmla="*/ 500587 w 2729264"/>
                  <a:gd name="connsiteY3" fmla="*/ 264603 h 2062150"/>
                  <a:gd name="connsiteX4" fmla="*/ 500147 w 2729264"/>
                  <a:gd name="connsiteY4" fmla="*/ 266952 h 2062150"/>
                  <a:gd name="connsiteX5" fmla="*/ 18617 w 2729264"/>
                  <a:gd name="connsiteY5" fmla="*/ 2011101 h 2062150"/>
                  <a:gd name="connsiteX6" fmla="*/ 78567 w 2729264"/>
                  <a:gd name="connsiteY6" fmla="*/ 1846719 h 2062150"/>
                  <a:gd name="connsiteX7" fmla="*/ 316390 w 2729264"/>
                  <a:gd name="connsiteY7" fmla="*/ 1067813 h 2062150"/>
                  <a:gd name="connsiteX8" fmla="*/ 480535 w 2729264"/>
                  <a:gd name="connsiteY8" fmla="*/ 371678 h 2062150"/>
                  <a:gd name="connsiteX9" fmla="*/ 500147 w 2729264"/>
                  <a:gd name="connsiteY9" fmla="*/ 266952 h 2062150"/>
                  <a:gd name="connsiteX10" fmla="*/ 501361 w 2729264"/>
                  <a:gd name="connsiteY10" fmla="*/ 266952 h 2062150"/>
                  <a:gd name="connsiteX11" fmla="*/ 500587 w 2729264"/>
                  <a:gd name="connsiteY11" fmla="*/ 264603 h 2062150"/>
                  <a:gd name="connsiteX12" fmla="*/ 500751 w 2729264"/>
                  <a:gd name="connsiteY12" fmla="*/ 263728 h 2062150"/>
                  <a:gd name="connsiteX13" fmla="*/ 518081 w 2729264"/>
                  <a:gd name="connsiteY13" fmla="*/ 211125 h 2062150"/>
                  <a:gd name="connsiteX14" fmla="*/ 1364633 w 2729264"/>
                  <a:gd name="connsiteY14" fmla="*/ 0 h 2062150"/>
                  <a:gd name="connsiteX15" fmla="*/ 2211185 w 2729264"/>
                  <a:gd name="connsiteY15" fmla="*/ 211125 h 2062150"/>
                  <a:gd name="connsiteX16" fmla="*/ 2228511 w 2729264"/>
                  <a:gd name="connsiteY16" fmla="*/ 263715 h 2062150"/>
                  <a:gd name="connsiteX17" fmla="*/ 2185466 w 2729264"/>
                  <a:gd name="connsiteY17" fmla="*/ 33859 h 2062150"/>
                  <a:gd name="connsiteX18" fmla="*/ 2228678 w 2729264"/>
                  <a:gd name="connsiteY18" fmla="*/ 264605 h 2062150"/>
                  <a:gd name="connsiteX19" fmla="*/ 2227904 w 2729264"/>
                  <a:gd name="connsiteY19" fmla="*/ 266952 h 2062150"/>
                  <a:gd name="connsiteX20" fmla="*/ 2229117 w 2729264"/>
                  <a:gd name="connsiteY20" fmla="*/ 266952 h 2062150"/>
                  <a:gd name="connsiteX21" fmla="*/ 2228777 w 2729264"/>
                  <a:gd name="connsiteY21" fmla="*/ 265135 h 2062150"/>
                  <a:gd name="connsiteX22" fmla="*/ 2248729 w 2729264"/>
                  <a:gd name="connsiteY22" fmla="*/ 371678 h 2062150"/>
                  <a:gd name="connsiteX23" fmla="*/ 2412874 w 2729264"/>
                  <a:gd name="connsiteY23" fmla="*/ 1067813 h 2062150"/>
                  <a:gd name="connsiteX24" fmla="*/ 2650697 w 2729264"/>
                  <a:gd name="connsiteY24" fmla="*/ 1846719 h 2062150"/>
                  <a:gd name="connsiteX25" fmla="*/ 2710643 w 2729264"/>
                  <a:gd name="connsiteY25" fmla="*/ 2011092 h 2062150"/>
                  <a:gd name="connsiteX26" fmla="*/ 2694930 w 2729264"/>
                  <a:gd name="connsiteY26" fmla="*/ 1983359 h 2062150"/>
                  <a:gd name="connsiteX27" fmla="*/ 1364633 w 2729264"/>
                  <a:gd name="connsiteY27" fmla="*/ 1691312 h 2062150"/>
                  <a:gd name="connsiteX28" fmla="*/ 34336 w 2729264"/>
                  <a:gd name="connsiteY28" fmla="*/ 1983359 h 2062150"/>
                  <a:gd name="connsiteX29" fmla="*/ 18617 w 2729264"/>
                  <a:gd name="connsiteY29" fmla="*/ 2011101 h 2062150"/>
                  <a:gd name="connsiteX30" fmla="*/ 8649 w 2729264"/>
                  <a:gd name="connsiteY30" fmla="*/ 2062150 h 2062150"/>
                  <a:gd name="connsiteX31" fmla="*/ 0 w 2729264"/>
                  <a:gd name="connsiteY31" fmla="*/ 2062150 h 2062150"/>
                  <a:gd name="connsiteX32" fmla="*/ 11929 w 2729264"/>
                  <a:gd name="connsiteY32" fmla="*/ 2029442 h 2062150"/>
                  <a:gd name="connsiteX33" fmla="*/ 6749 w 2729264"/>
                  <a:gd name="connsiteY33" fmla="*/ 2057072 h 2062150"/>
                  <a:gd name="connsiteX34" fmla="*/ 8649 w 2729264"/>
                  <a:gd name="connsiteY34" fmla="*/ 2062150 h 2062150"/>
                  <a:gd name="connsiteX35" fmla="*/ 2729264 w 2729264"/>
                  <a:gd name="connsiteY35" fmla="*/ 2062150 h 2062150"/>
                  <a:gd name="connsiteX36" fmla="*/ 2720616 w 2729264"/>
                  <a:gd name="connsiteY36" fmla="*/ 2062150 h 2062150"/>
                  <a:gd name="connsiteX37" fmla="*/ 2722517 w 2729264"/>
                  <a:gd name="connsiteY37" fmla="*/ 2057072 h 2062150"/>
                  <a:gd name="connsiteX38" fmla="*/ 2717339 w 2729264"/>
                  <a:gd name="connsiteY38" fmla="*/ 2029453 h 2062150"/>
                  <a:gd name="connsiteX39" fmla="*/ 2729264 w 2729264"/>
                  <a:gd name="connsiteY39" fmla="*/ 2062150 h 2062150"/>
                  <a:gd name="connsiteX0" fmla="*/ 500147 w 2729264"/>
                  <a:gd name="connsiteY0" fmla="*/ 266952 h 2062150"/>
                  <a:gd name="connsiteX1" fmla="*/ 500147 w 2729264"/>
                  <a:gd name="connsiteY1" fmla="*/ 266952 h 2062150"/>
                  <a:gd name="connsiteX2" fmla="*/ 500587 w 2729264"/>
                  <a:gd name="connsiteY2" fmla="*/ 264602 h 2062150"/>
                  <a:gd name="connsiteX3" fmla="*/ 500587 w 2729264"/>
                  <a:gd name="connsiteY3" fmla="*/ 264603 h 2062150"/>
                  <a:gd name="connsiteX4" fmla="*/ 500147 w 2729264"/>
                  <a:gd name="connsiteY4" fmla="*/ 266952 h 2062150"/>
                  <a:gd name="connsiteX5" fmla="*/ 18617 w 2729264"/>
                  <a:gd name="connsiteY5" fmla="*/ 2011101 h 2062150"/>
                  <a:gd name="connsiteX6" fmla="*/ 78567 w 2729264"/>
                  <a:gd name="connsiteY6" fmla="*/ 1846719 h 2062150"/>
                  <a:gd name="connsiteX7" fmla="*/ 316390 w 2729264"/>
                  <a:gd name="connsiteY7" fmla="*/ 1067813 h 2062150"/>
                  <a:gd name="connsiteX8" fmla="*/ 480535 w 2729264"/>
                  <a:gd name="connsiteY8" fmla="*/ 371678 h 2062150"/>
                  <a:gd name="connsiteX9" fmla="*/ 500147 w 2729264"/>
                  <a:gd name="connsiteY9" fmla="*/ 266952 h 2062150"/>
                  <a:gd name="connsiteX10" fmla="*/ 501361 w 2729264"/>
                  <a:gd name="connsiteY10" fmla="*/ 266952 h 2062150"/>
                  <a:gd name="connsiteX11" fmla="*/ 500587 w 2729264"/>
                  <a:gd name="connsiteY11" fmla="*/ 264603 h 2062150"/>
                  <a:gd name="connsiteX12" fmla="*/ 500751 w 2729264"/>
                  <a:gd name="connsiteY12" fmla="*/ 263728 h 2062150"/>
                  <a:gd name="connsiteX13" fmla="*/ 518081 w 2729264"/>
                  <a:gd name="connsiteY13" fmla="*/ 211125 h 2062150"/>
                  <a:gd name="connsiteX14" fmla="*/ 1364633 w 2729264"/>
                  <a:gd name="connsiteY14" fmla="*/ 0 h 2062150"/>
                  <a:gd name="connsiteX15" fmla="*/ 2211185 w 2729264"/>
                  <a:gd name="connsiteY15" fmla="*/ 211125 h 2062150"/>
                  <a:gd name="connsiteX16" fmla="*/ 2228511 w 2729264"/>
                  <a:gd name="connsiteY16" fmla="*/ 263715 h 2062150"/>
                  <a:gd name="connsiteX17" fmla="*/ 2228678 w 2729264"/>
                  <a:gd name="connsiteY17" fmla="*/ 264605 h 2062150"/>
                  <a:gd name="connsiteX18" fmla="*/ 2227904 w 2729264"/>
                  <a:gd name="connsiteY18" fmla="*/ 266952 h 2062150"/>
                  <a:gd name="connsiteX19" fmla="*/ 2229117 w 2729264"/>
                  <a:gd name="connsiteY19" fmla="*/ 266952 h 2062150"/>
                  <a:gd name="connsiteX20" fmla="*/ 2228777 w 2729264"/>
                  <a:gd name="connsiteY20" fmla="*/ 265135 h 2062150"/>
                  <a:gd name="connsiteX21" fmla="*/ 2248729 w 2729264"/>
                  <a:gd name="connsiteY21" fmla="*/ 371678 h 2062150"/>
                  <a:gd name="connsiteX22" fmla="*/ 2412874 w 2729264"/>
                  <a:gd name="connsiteY22" fmla="*/ 1067813 h 2062150"/>
                  <a:gd name="connsiteX23" fmla="*/ 2650697 w 2729264"/>
                  <a:gd name="connsiteY23" fmla="*/ 1846719 h 2062150"/>
                  <a:gd name="connsiteX24" fmla="*/ 2710643 w 2729264"/>
                  <a:gd name="connsiteY24" fmla="*/ 2011092 h 2062150"/>
                  <a:gd name="connsiteX25" fmla="*/ 2694930 w 2729264"/>
                  <a:gd name="connsiteY25" fmla="*/ 1983359 h 2062150"/>
                  <a:gd name="connsiteX26" fmla="*/ 1364633 w 2729264"/>
                  <a:gd name="connsiteY26" fmla="*/ 1691312 h 2062150"/>
                  <a:gd name="connsiteX27" fmla="*/ 34336 w 2729264"/>
                  <a:gd name="connsiteY27" fmla="*/ 1983359 h 2062150"/>
                  <a:gd name="connsiteX28" fmla="*/ 18617 w 2729264"/>
                  <a:gd name="connsiteY28" fmla="*/ 2011101 h 2062150"/>
                  <a:gd name="connsiteX29" fmla="*/ 8649 w 2729264"/>
                  <a:gd name="connsiteY29" fmla="*/ 2062150 h 2062150"/>
                  <a:gd name="connsiteX30" fmla="*/ 0 w 2729264"/>
                  <a:gd name="connsiteY30" fmla="*/ 2062150 h 2062150"/>
                  <a:gd name="connsiteX31" fmla="*/ 11929 w 2729264"/>
                  <a:gd name="connsiteY31" fmla="*/ 2029442 h 2062150"/>
                  <a:gd name="connsiteX32" fmla="*/ 6749 w 2729264"/>
                  <a:gd name="connsiteY32" fmla="*/ 2057072 h 2062150"/>
                  <a:gd name="connsiteX33" fmla="*/ 8649 w 2729264"/>
                  <a:gd name="connsiteY33" fmla="*/ 2062150 h 2062150"/>
                  <a:gd name="connsiteX34" fmla="*/ 2729264 w 2729264"/>
                  <a:gd name="connsiteY34" fmla="*/ 2062150 h 2062150"/>
                  <a:gd name="connsiteX35" fmla="*/ 2720616 w 2729264"/>
                  <a:gd name="connsiteY35" fmla="*/ 2062150 h 2062150"/>
                  <a:gd name="connsiteX36" fmla="*/ 2722517 w 2729264"/>
                  <a:gd name="connsiteY36" fmla="*/ 2057072 h 2062150"/>
                  <a:gd name="connsiteX37" fmla="*/ 2717339 w 2729264"/>
                  <a:gd name="connsiteY37" fmla="*/ 2029453 h 2062150"/>
                  <a:gd name="connsiteX38" fmla="*/ 2729264 w 2729264"/>
                  <a:gd name="connsiteY38" fmla="*/ 2062150 h 206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729264" h="2062150">
                    <a:moveTo>
                      <a:pt x="500147" y="266952"/>
                    </a:moveTo>
                    <a:lnTo>
                      <a:pt x="500147" y="266952"/>
                    </a:lnTo>
                    <a:cubicBezTo>
                      <a:pt x="500294" y="266169"/>
                      <a:pt x="500440" y="265385"/>
                      <a:pt x="500587" y="264602"/>
                    </a:cubicBezTo>
                    <a:lnTo>
                      <a:pt x="500587" y="264603"/>
                    </a:lnTo>
                    <a:cubicBezTo>
                      <a:pt x="500440" y="265386"/>
                      <a:pt x="500294" y="266169"/>
                      <a:pt x="500147" y="266952"/>
                    </a:cubicBezTo>
                    <a:close/>
                    <a:moveTo>
                      <a:pt x="18617" y="2011101"/>
                    </a:moveTo>
                    <a:lnTo>
                      <a:pt x="78567" y="1846719"/>
                    </a:lnTo>
                    <a:cubicBezTo>
                      <a:pt x="164423" y="1597547"/>
                      <a:pt x="244229" y="1337120"/>
                      <a:pt x="316390" y="1067813"/>
                    </a:cubicBezTo>
                    <a:cubicBezTo>
                      <a:pt x="379531" y="832170"/>
                      <a:pt x="434202" y="599487"/>
                      <a:pt x="480535" y="371678"/>
                    </a:cubicBezTo>
                    <a:lnTo>
                      <a:pt x="500147" y="266952"/>
                    </a:lnTo>
                    <a:lnTo>
                      <a:pt x="501361" y="266952"/>
                    </a:lnTo>
                    <a:lnTo>
                      <a:pt x="500587" y="264603"/>
                    </a:lnTo>
                    <a:cubicBezTo>
                      <a:pt x="500642" y="264311"/>
                      <a:pt x="500696" y="264020"/>
                      <a:pt x="500751" y="263728"/>
                    </a:cubicBezTo>
                    <a:lnTo>
                      <a:pt x="518081" y="211125"/>
                    </a:lnTo>
                    <a:cubicBezTo>
                      <a:pt x="598655" y="90636"/>
                      <a:pt x="947053" y="0"/>
                      <a:pt x="1364633" y="0"/>
                    </a:cubicBezTo>
                    <a:cubicBezTo>
                      <a:pt x="1782213" y="0"/>
                      <a:pt x="2130611" y="90636"/>
                      <a:pt x="2211185" y="211125"/>
                    </a:cubicBezTo>
                    <a:lnTo>
                      <a:pt x="2228511" y="263715"/>
                    </a:lnTo>
                    <a:cubicBezTo>
                      <a:pt x="2228567" y="264012"/>
                      <a:pt x="2228622" y="264308"/>
                      <a:pt x="2228678" y="264605"/>
                    </a:cubicBezTo>
                    <a:lnTo>
                      <a:pt x="2227904" y="266952"/>
                    </a:lnTo>
                    <a:lnTo>
                      <a:pt x="2229117" y="266952"/>
                    </a:lnTo>
                    <a:cubicBezTo>
                      <a:pt x="2229004" y="266346"/>
                      <a:pt x="2228890" y="265741"/>
                      <a:pt x="2228777" y="265135"/>
                    </a:cubicBezTo>
                    <a:lnTo>
                      <a:pt x="2248729" y="371678"/>
                    </a:lnTo>
                    <a:cubicBezTo>
                      <a:pt x="2295062" y="599487"/>
                      <a:pt x="2349734" y="832170"/>
                      <a:pt x="2412874" y="1067813"/>
                    </a:cubicBezTo>
                    <a:cubicBezTo>
                      <a:pt x="2485034" y="1337120"/>
                      <a:pt x="2564841" y="1597547"/>
                      <a:pt x="2650697" y="1846719"/>
                    </a:cubicBezTo>
                    <a:lnTo>
                      <a:pt x="2710643" y="2011092"/>
                    </a:lnTo>
                    <a:lnTo>
                      <a:pt x="2694930" y="1983359"/>
                    </a:lnTo>
                    <a:cubicBezTo>
                      <a:pt x="2568312" y="1816688"/>
                      <a:pt x="2020830" y="1691312"/>
                      <a:pt x="1364633" y="1691312"/>
                    </a:cubicBezTo>
                    <a:cubicBezTo>
                      <a:pt x="708436" y="1691312"/>
                      <a:pt x="160954" y="1816688"/>
                      <a:pt x="34336" y="1983359"/>
                    </a:cubicBezTo>
                    <a:lnTo>
                      <a:pt x="18617" y="2011101"/>
                    </a:lnTo>
                    <a:close/>
                    <a:moveTo>
                      <a:pt x="8649" y="2062150"/>
                    </a:moveTo>
                    <a:lnTo>
                      <a:pt x="0" y="2062150"/>
                    </a:lnTo>
                    <a:lnTo>
                      <a:pt x="11929" y="2029442"/>
                    </a:lnTo>
                    <a:lnTo>
                      <a:pt x="6749" y="2057072"/>
                    </a:lnTo>
                    <a:lnTo>
                      <a:pt x="8649" y="2062150"/>
                    </a:lnTo>
                    <a:close/>
                    <a:moveTo>
                      <a:pt x="2729264" y="2062150"/>
                    </a:moveTo>
                    <a:lnTo>
                      <a:pt x="2720616" y="2062150"/>
                    </a:lnTo>
                    <a:lnTo>
                      <a:pt x="2722517" y="2057072"/>
                    </a:lnTo>
                    <a:lnTo>
                      <a:pt x="2717339" y="2029453"/>
                    </a:lnTo>
                    <a:lnTo>
                      <a:pt x="2729264" y="2062150"/>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p:cNvSpPr/>
              <p:nvPr/>
            </p:nvSpPr>
            <p:spPr>
              <a:xfrm rot="10800000">
                <a:off x="3768683" y="4367965"/>
                <a:ext cx="1606966" cy="1492367"/>
              </a:xfrm>
              <a:custGeom>
                <a:avLst/>
                <a:gdLst>
                  <a:gd name="connsiteX0" fmla="*/ 603 w 1728970"/>
                  <a:gd name="connsiteY0" fmla="*/ 1995175 h 1998398"/>
                  <a:gd name="connsiteX1" fmla="*/ 43650 w 1728970"/>
                  <a:gd name="connsiteY1" fmla="*/ 1765305 h 1998398"/>
                  <a:gd name="connsiteX2" fmla="*/ 175794 w 1728970"/>
                  <a:gd name="connsiteY2" fmla="*/ 236055 h 1998398"/>
                  <a:gd name="connsiteX3" fmla="*/ 174520 w 1728970"/>
                  <a:gd name="connsiteY3" fmla="*/ 204385 h 1998398"/>
                  <a:gd name="connsiteX4" fmla="*/ 174114 w 1728970"/>
                  <a:gd name="connsiteY4" fmla="*/ 203200 h 1998398"/>
                  <a:gd name="connsiteX5" fmla="*/ 864486 w 1728970"/>
                  <a:gd name="connsiteY5" fmla="*/ 0 h 1998398"/>
                  <a:gd name="connsiteX6" fmla="*/ 1554858 w 1728970"/>
                  <a:gd name="connsiteY6" fmla="*/ 203200 h 1998398"/>
                  <a:gd name="connsiteX7" fmla="*/ 1554450 w 1728970"/>
                  <a:gd name="connsiteY7" fmla="*/ 204391 h 1998398"/>
                  <a:gd name="connsiteX8" fmla="*/ 1553176 w 1728970"/>
                  <a:gd name="connsiteY8" fmla="*/ 236055 h 1998398"/>
                  <a:gd name="connsiteX9" fmla="*/ 1685319 w 1728970"/>
                  <a:gd name="connsiteY9" fmla="*/ 1765305 h 1998398"/>
                  <a:gd name="connsiteX10" fmla="*/ 1728364 w 1728970"/>
                  <a:gd name="connsiteY10" fmla="*/ 1995161 h 1998398"/>
                  <a:gd name="connsiteX11" fmla="*/ 1711038 w 1728970"/>
                  <a:gd name="connsiteY11" fmla="*/ 1942571 h 1998398"/>
                  <a:gd name="connsiteX12" fmla="*/ 864486 w 1728970"/>
                  <a:gd name="connsiteY12" fmla="*/ 1731446 h 1998398"/>
                  <a:gd name="connsiteX13" fmla="*/ 17934 w 1728970"/>
                  <a:gd name="connsiteY13" fmla="*/ 1942571 h 1998398"/>
                  <a:gd name="connsiteX14" fmla="*/ 1214 w 1728970"/>
                  <a:gd name="connsiteY14" fmla="*/ 1998398 h 1998398"/>
                  <a:gd name="connsiteX15" fmla="*/ 0 w 1728970"/>
                  <a:gd name="connsiteY15" fmla="*/ 1998398 h 1998398"/>
                  <a:gd name="connsiteX16" fmla="*/ 440 w 1728970"/>
                  <a:gd name="connsiteY16" fmla="*/ 1996048 h 1998398"/>
                  <a:gd name="connsiteX17" fmla="*/ 1728970 w 1728970"/>
                  <a:gd name="connsiteY17" fmla="*/ 1998398 h 1998398"/>
                  <a:gd name="connsiteX18" fmla="*/ 1727757 w 1728970"/>
                  <a:gd name="connsiteY18" fmla="*/ 1998398 h 1998398"/>
                  <a:gd name="connsiteX19" fmla="*/ 1728531 w 1728970"/>
                  <a:gd name="connsiteY19" fmla="*/ 1996051 h 199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28970" h="1998398">
                    <a:moveTo>
                      <a:pt x="603" y="1995175"/>
                    </a:moveTo>
                    <a:lnTo>
                      <a:pt x="43650" y="1765305"/>
                    </a:lnTo>
                    <a:cubicBezTo>
                      <a:pt x="138720" y="1209160"/>
                      <a:pt x="182085" y="689450"/>
                      <a:pt x="175794" y="236055"/>
                    </a:cubicBezTo>
                    <a:lnTo>
                      <a:pt x="174520" y="204385"/>
                    </a:lnTo>
                    <a:lnTo>
                      <a:pt x="174114" y="203200"/>
                    </a:lnTo>
                    <a:cubicBezTo>
                      <a:pt x="174114" y="90976"/>
                      <a:pt x="483204" y="0"/>
                      <a:pt x="864486" y="0"/>
                    </a:cubicBezTo>
                    <a:cubicBezTo>
                      <a:pt x="1245768" y="0"/>
                      <a:pt x="1554858" y="90976"/>
                      <a:pt x="1554858" y="203200"/>
                    </a:cubicBezTo>
                    <a:lnTo>
                      <a:pt x="1554450" y="204391"/>
                    </a:lnTo>
                    <a:lnTo>
                      <a:pt x="1553176" y="236055"/>
                    </a:lnTo>
                    <a:cubicBezTo>
                      <a:pt x="1546885" y="689450"/>
                      <a:pt x="1590250" y="1209160"/>
                      <a:pt x="1685319" y="1765305"/>
                    </a:cubicBezTo>
                    <a:lnTo>
                      <a:pt x="1728364" y="1995161"/>
                    </a:lnTo>
                    <a:lnTo>
                      <a:pt x="1711038" y="1942571"/>
                    </a:lnTo>
                    <a:cubicBezTo>
                      <a:pt x="1630464" y="1822082"/>
                      <a:pt x="1282066" y="1731446"/>
                      <a:pt x="864486" y="1731446"/>
                    </a:cubicBezTo>
                    <a:cubicBezTo>
                      <a:pt x="446906" y="1731446"/>
                      <a:pt x="98508" y="1822082"/>
                      <a:pt x="17934" y="1942571"/>
                    </a:cubicBezTo>
                    <a:close/>
                    <a:moveTo>
                      <a:pt x="1214" y="1998398"/>
                    </a:moveTo>
                    <a:lnTo>
                      <a:pt x="0" y="1998398"/>
                    </a:lnTo>
                    <a:lnTo>
                      <a:pt x="440" y="1996048"/>
                    </a:lnTo>
                    <a:close/>
                    <a:moveTo>
                      <a:pt x="1728970" y="1998398"/>
                    </a:moveTo>
                    <a:lnTo>
                      <a:pt x="1727757" y="1998398"/>
                    </a:lnTo>
                    <a:lnTo>
                      <a:pt x="1728531" y="1996051"/>
                    </a:lnTo>
                    <a:close/>
                  </a:path>
                </a:pathLst>
              </a:custGeom>
              <a:solidFill>
                <a:srgbClr val="0499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21"/>
              <p:cNvSpPr/>
              <p:nvPr/>
            </p:nvSpPr>
            <p:spPr>
              <a:xfrm rot="10800000">
                <a:off x="2521104" y="1759407"/>
                <a:ext cx="4102125" cy="1544871"/>
              </a:xfrm>
              <a:custGeom>
                <a:avLst/>
                <a:gdLst>
                  <a:gd name="connsiteX0" fmla="*/ 902318 w 4413566"/>
                  <a:gd name="connsiteY0" fmla="*/ 253197 h 2116040"/>
                  <a:gd name="connsiteX1" fmla="*/ 920718 w 4413566"/>
                  <a:gd name="connsiteY1" fmla="*/ 202743 h 2116040"/>
                  <a:gd name="connsiteX2" fmla="*/ 986572 w 4413566"/>
                  <a:gd name="connsiteY2" fmla="*/ 0 h 2116040"/>
                  <a:gd name="connsiteX3" fmla="*/ 986572 w 4413566"/>
                  <a:gd name="connsiteY3" fmla="*/ 0 h 2116040"/>
                  <a:gd name="connsiteX4" fmla="*/ 920718 w 4413566"/>
                  <a:gd name="connsiteY4" fmla="*/ 202743 h 2116040"/>
                  <a:gd name="connsiteX5" fmla="*/ 0 w 4413566"/>
                  <a:gd name="connsiteY5" fmla="*/ 2116040 h 2116040"/>
                  <a:gd name="connsiteX6" fmla="*/ 27790 w 4413566"/>
                  <a:gd name="connsiteY6" fmla="*/ 2077314 h 2116040"/>
                  <a:gd name="connsiteX7" fmla="*/ 787596 w 4413566"/>
                  <a:gd name="connsiteY7" fmla="*/ 567764 h 2116040"/>
                  <a:gd name="connsiteX8" fmla="*/ 842151 w 4413566"/>
                  <a:gd name="connsiteY8" fmla="*/ 418174 h 2116040"/>
                  <a:gd name="connsiteX9" fmla="*/ 850800 w 4413566"/>
                  <a:gd name="connsiteY9" fmla="*/ 418174 h 2116040"/>
                  <a:gd name="connsiteX10" fmla="*/ 848900 w 4413566"/>
                  <a:gd name="connsiteY10" fmla="*/ 413096 h 2116040"/>
                  <a:gd name="connsiteX11" fmla="*/ 854080 w 4413566"/>
                  <a:gd name="connsiteY11" fmla="*/ 385466 h 2116040"/>
                  <a:gd name="connsiteX12" fmla="*/ 843595 w 4413566"/>
                  <a:gd name="connsiteY12" fmla="*/ 414215 h 2116040"/>
                  <a:gd name="connsiteX13" fmla="*/ 860769 w 4413566"/>
                  <a:gd name="connsiteY13" fmla="*/ 367123 h 2116040"/>
                  <a:gd name="connsiteX14" fmla="*/ 876487 w 4413566"/>
                  <a:gd name="connsiteY14" fmla="*/ 339383 h 2116040"/>
                  <a:gd name="connsiteX15" fmla="*/ 2206784 w 4413566"/>
                  <a:gd name="connsiteY15" fmla="*/ 47336 h 2116040"/>
                  <a:gd name="connsiteX16" fmla="*/ 3537081 w 4413566"/>
                  <a:gd name="connsiteY16" fmla="*/ 339383 h 2116040"/>
                  <a:gd name="connsiteX17" fmla="*/ 3552794 w 4413566"/>
                  <a:gd name="connsiteY17" fmla="*/ 367116 h 2116040"/>
                  <a:gd name="connsiteX18" fmla="*/ 3492848 w 4413566"/>
                  <a:gd name="connsiteY18" fmla="*/ 202743 h 2116040"/>
                  <a:gd name="connsiteX19" fmla="*/ 3426994 w 4413566"/>
                  <a:gd name="connsiteY19" fmla="*/ 0 h 2116040"/>
                  <a:gd name="connsiteX20" fmla="*/ 3426994 w 4413566"/>
                  <a:gd name="connsiteY20" fmla="*/ 0 h 2116040"/>
                  <a:gd name="connsiteX21" fmla="*/ 3492848 w 4413566"/>
                  <a:gd name="connsiteY21" fmla="*/ 202743 h 2116040"/>
                  <a:gd name="connsiteX22" fmla="*/ 3570858 w 4413566"/>
                  <a:gd name="connsiteY22" fmla="*/ 416646 h 2116040"/>
                  <a:gd name="connsiteX23" fmla="*/ 3559490 w 4413566"/>
                  <a:gd name="connsiteY23" fmla="*/ 385477 h 2116040"/>
                  <a:gd name="connsiteX24" fmla="*/ 3564668 w 4413566"/>
                  <a:gd name="connsiteY24" fmla="*/ 413096 h 2116040"/>
                  <a:gd name="connsiteX25" fmla="*/ 3562767 w 4413566"/>
                  <a:gd name="connsiteY25" fmla="*/ 418174 h 2116040"/>
                  <a:gd name="connsiteX26" fmla="*/ 3571415 w 4413566"/>
                  <a:gd name="connsiteY26" fmla="*/ 418174 h 2116040"/>
                  <a:gd name="connsiteX27" fmla="*/ 3625970 w 4413566"/>
                  <a:gd name="connsiteY27" fmla="*/ 567764 h 2116040"/>
                  <a:gd name="connsiteX28" fmla="*/ 4385777 w 4413566"/>
                  <a:gd name="connsiteY28" fmla="*/ 2077314 h 2116040"/>
                  <a:gd name="connsiteX29" fmla="*/ 4413566 w 4413566"/>
                  <a:gd name="connsiteY29" fmla="*/ 2116038 h 2116040"/>
                  <a:gd name="connsiteX30" fmla="*/ 4372544 w 4413566"/>
                  <a:gd name="connsiteY30" fmla="*/ 2087447 h 2116040"/>
                  <a:gd name="connsiteX31" fmla="*/ 2206784 w 4413566"/>
                  <a:gd name="connsiteY31" fmla="*/ 1801898 h 2116040"/>
                  <a:gd name="connsiteX32" fmla="*/ 41024 w 4413566"/>
                  <a:gd name="connsiteY32" fmla="*/ 2087447 h 2116040"/>
                  <a:gd name="connsiteX0" fmla="*/ 902318 w 4413566"/>
                  <a:gd name="connsiteY0" fmla="*/ 253197 h 2116040"/>
                  <a:gd name="connsiteX1" fmla="*/ 920718 w 4413566"/>
                  <a:gd name="connsiteY1" fmla="*/ 202743 h 2116040"/>
                  <a:gd name="connsiteX2" fmla="*/ 986572 w 4413566"/>
                  <a:gd name="connsiteY2" fmla="*/ 0 h 2116040"/>
                  <a:gd name="connsiteX3" fmla="*/ 986572 w 4413566"/>
                  <a:gd name="connsiteY3" fmla="*/ 0 h 2116040"/>
                  <a:gd name="connsiteX4" fmla="*/ 920718 w 4413566"/>
                  <a:gd name="connsiteY4" fmla="*/ 202743 h 2116040"/>
                  <a:gd name="connsiteX5" fmla="*/ 902318 w 4413566"/>
                  <a:gd name="connsiteY5" fmla="*/ 253197 h 2116040"/>
                  <a:gd name="connsiteX6" fmla="*/ 0 w 4413566"/>
                  <a:gd name="connsiteY6" fmla="*/ 2116040 h 2116040"/>
                  <a:gd name="connsiteX7" fmla="*/ 27790 w 4413566"/>
                  <a:gd name="connsiteY7" fmla="*/ 2077314 h 2116040"/>
                  <a:gd name="connsiteX8" fmla="*/ 787596 w 4413566"/>
                  <a:gd name="connsiteY8" fmla="*/ 567764 h 2116040"/>
                  <a:gd name="connsiteX9" fmla="*/ 842151 w 4413566"/>
                  <a:gd name="connsiteY9" fmla="*/ 418174 h 2116040"/>
                  <a:gd name="connsiteX10" fmla="*/ 850800 w 4413566"/>
                  <a:gd name="connsiteY10" fmla="*/ 418174 h 2116040"/>
                  <a:gd name="connsiteX11" fmla="*/ 848900 w 4413566"/>
                  <a:gd name="connsiteY11" fmla="*/ 413096 h 2116040"/>
                  <a:gd name="connsiteX12" fmla="*/ 854080 w 4413566"/>
                  <a:gd name="connsiteY12" fmla="*/ 385466 h 2116040"/>
                  <a:gd name="connsiteX13" fmla="*/ 843595 w 4413566"/>
                  <a:gd name="connsiteY13" fmla="*/ 414215 h 2116040"/>
                  <a:gd name="connsiteX14" fmla="*/ 860769 w 4413566"/>
                  <a:gd name="connsiteY14" fmla="*/ 367123 h 2116040"/>
                  <a:gd name="connsiteX15" fmla="*/ 876487 w 4413566"/>
                  <a:gd name="connsiteY15" fmla="*/ 339383 h 2116040"/>
                  <a:gd name="connsiteX16" fmla="*/ 2206784 w 4413566"/>
                  <a:gd name="connsiteY16" fmla="*/ 47336 h 2116040"/>
                  <a:gd name="connsiteX17" fmla="*/ 3537081 w 4413566"/>
                  <a:gd name="connsiteY17" fmla="*/ 339383 h 2116040"/>
                  <a:gd name="connsiteX18" fmla="*/ 3552794 w 4413566"/>
                  <a:gd name="connsiteY18" fmla="*/ 367116 h 2116040"/>
                  <a:gd name="connsiteX19" fmla="*/ 3492848 w 4413566"/>
                  <a:gd name="connsiteY19" fmla="*/ 202743 h 2116040"/>
                  <a:gd name="connsiteX20" fmla="*/ 3426994 w 4413566"/>
                  <a:gd name="connsiteY20" fmla="*/ 0 h 2116040"/>
                  <a:gd name="connsiteX21" fmla="*/ 3492848 w 4413566"/>
                  <a:gd name="connsiteY21" fmla="*/ 202743 h 2116040"/>
                  <a:gd name="connsiteX22" fmla="*/ 3570858 w 4413566"/>
                  <a:gd name="connsiteY22" fmla="*/ 416646 h 2116040"/>
                  <a:gd name="connsiteX23" fmla="*/ 3559490 w 4413566"/>
                  <a:gd name="connsiteY23" fmla="*/ 385477 h 2116040"/>
                  <a:gd name="connsiteX24" fmla="*/ 3564668 w 4413566"/>
                  <a:gd name="connsiteY24" fmla="*/ 413096 h 2116040"/>
                  <a:gd name="connsiteX25" fmla="*/ 3562767 w 4413566"/>
                  <a:gd name="connsiteY25" fmla="*/ 418174 h 2116040"/>
                  <a:gd name="connsiteX26" fmla="*/ 3571415 w 4413566"/>
                  <a:gd name="connsiteY26" fmla="*/ 418174 h 2116040"/>
                  <a:gd name="connsiteX27" fmla="*/ 3625970 w 4413566"/>
                  <a:gd name="connsiteY27" fmla="*/ 567764 h 2116040"/>
                  <a:gd name="connsiteX28" fmla="*/ 4385777 w 4413566"/>
                  <a:gd name="connsiteY28" fmla="*/ 2077314 h 2116040"/>
                  <a:gd name="connsiteX29" fmla="*/ 4413566 w 4413566"/>
                  <a:gd name="connsiteY29" fmla="*/ 2116038 h 2116040"/>
                  <a:gd name="connsiteX30" fmla="*/ 4372544 w 4413566"/>
                  <a:gd name="connsiteY30" fmla="*/ 2087447 h 2116040"/>
                  <a:gd name="connsiteX31" fmla="*/ 2206784 w 4413566"/>
                  <a:gd name="connsiteY31" fmla="*/ 1801898 h 2116040"/>
                  <a:gd name="connsiteX32" fmla="*/ 41024 w 4413566"/>
                  <a:gd name="connsiteY32" fmla="*/ 2087447 h 2116040"/>
                  <a:gd name="connsiteX33" fmla="*/ 0 w 4413566"/>
                  <a:gd name="connsiteY33" fmla="*/ 2116040 h 2116040"/>
                  <a:gd name="connsiteX0" fmla="*/ 902318 w 4413566"/>
                  <a:gd name="connsiteY0" fmla="*/ 253197 h 2116040"/>
                  <a:gd name="connsiteX1" fmla="*/ 920718 w 4413566"/>
                  <a:gd name="connsiteY1" fmla="*/ 202743 h 2116040"/>
                  <a:gd name="connsiteX2" fmla="*/ 986572 w 4413566"/>
                  <a:gd name="connsiteY2" fmla="*/ 0 h 2116040"/>
                  <a:gd name="connsiteX3" fmla="*/ 986572 w 4413566"/>
                  <a:gd name="connsiteY3" fmla="*/ 0 h 2116040"/>
                  <a:gd name="connsiteX4" fmla="*/ 920718 w 4413566"/>
                  <a:gd name="connsiteY4" fmla="*/ 202743 h 2116040"/>
                  <a:gd name="connsiteX5" fmla="*/ 902318 w 4413566"/>
                  <a:gd name="connsiteY5" fmla="*/ 253197 h 2116040"/>
                  <a:gd name="connsiteX6" fmla="*/ 0 w 4413566"/>
                  <a:gd name="connsiteY6" fmla="*/ 2116040 h 2116040"/>
                  <a:gd name="connsiteX7" fmla="*/ 27790 w 4413566"/>
                  <a:gd name="connsiteY7" fmla="*/ 2077314 h 2116040"/>
                  <a:gd name="connsiteX8" fmla="*/ 787596 w 4413566"/>
                  <a:gd name="connsiteY8" fmla="*/ 567764 h 2116040"/>
                  <a:gd name="connsiteX9" fmla="*/ 842151 w 4413566"/>
                  <a:gd name="connsiteY9" fmla="*/ 418174 h 2116040"/>
                  <a:gd name="connsiteX10" fmla="*/ 850800 w 4413566"/>
                  <a:gd name="connsiteY10" fmla="*/ 418174 h 2116040"/>
                  <a:gd name="connsiteX11" fmla="*/ 848900 w 4413566"/>
                  <a:gd name="connsiteY11" fmla="*/ 413096 h 2116040"/>
                  <a:gd name="connsiteX12" fmla="*/ 854080 w 4413566"/>
                  <a:gd name="connsiteY12" fmla="*/ 385466 h 2116040"/>
                  <a:gd name="connsiteX13" fmla="*/ 843595 w 4413566"/>
                  <a:gd name="connsiteY13" fmla="*/ 414215 h 2116040"/>
                  <a:gd name="connsiteX14" fmla="*/ 860769 w 4413566"/>
                  <a:gd name="connsiteY14" fmla="*/ 367123 h 2116040"/>
                  <a:gd name="connsiteX15" fmla="*/ 876487 w 4413566"/>
                  <a:gd name="connsiteY15" fmla="*/ 339383 h 2116040"/>
                  <a:gd name="connsiteX16" fmla="*/ 2206784 w 4413566"/>
                  <a:gd name="connsiteY16" fmla="*/ 47336 h 2116040"/>
                  <a:gd name="connsiteX17" fmla="*/ 3537081 w 4413566"/>
                  <a:gd name="connsiteY17" fmla="*/ 339383 h 2116040"/>
                  <a:gd name="connsiteX18" fmla="*/ 3552794 w 4413566"/>
                  <a:gd name="connsiteY18" fmla="*/ 367116 h 2116040"/>
                  <a:gd name="connsiteX19" fmla="*/ 3492848 w 4413566"/>
                  <a:gd name="connsiteY19" fmla="*/ 202743 h 2116040"/>
                  <a:gd name="connsiteX20" fmla="*/ 3492848 w 4413566"/>
                  <a:gd name="connsiteY20" fmla="*/ 202743 h 2116040"/>
                  <a:gd name="connsiteX21" fmla="*/ 3570858 w 4413566"/>
                  <a:gd name="connsiteY21" fmla="*/ 416646 h 2116040"/>
                  <a:gd name="connsiteX22" fmla="*/ 3559490 w 4413566"/>
                  <a:gd name="connsiteY22" fmla="*/ 385477 h 2116040"/>
                  <a:gd name="connsiteX23" fmla="*/ 3564668 w 4413566"/>
                  <a:gd name="connsiteY23" fmla="*/ 413096 h 2116040"/>
                  <a:gd name="connsiteX24" fmla="*/ 3562767 w 4413566"/>
                  <a:gd name="connsiteY24" fmla="*/ 418174 h 2116040"/>
                  <a:gd name="connsiteX25" fmla="*/ 3571415 w 4413566"/>
                  <a:gd name="connsiteY25" fmla="*/ 418174 h 2116040"/>
                  <a:gd name="connsiteX26" fmla="*/ 3625970 w 4413566"/>
                  <a:gd name="connsiteY26" fmla="*/ 567764 h 2116040"/>
                  <a:gd name="connsiteX27" fmla="*/ 4385777 w 4413566"/>
                  <a:gd name="connsiteY27" fmla="*/ 2077314 h 2116040"/>
                  <a:gd name="connsiteX28" fmla="*/ 4413566 w 4413566"/>
                  <a:gd name="connsiteY28" fmla="*/ 2116038 h 2116040"/>
                  <a:gd name="connsiteX29" fmla="*/ 4372544 w 4413566"/>
                  <a:gd name="connsiteY29" fmla="*/ 2087447 h 2116040"/>
                  <a:gd name="connsiteX30" fmla="*/ 2206784 w 4413566"/>
                  <a:gd name="connsiteY30" fmla="*/ 1801898 h 2116040"/>
                  <a:gd name="connsiteX31" fmla="*/ 41024 w 4413566"/>
                  <a:gd name="connsiteY31" fmla="*/ 2087447 h 2116040"/>
                  <a:gd name="connsiteX32" fmla="*/ 0 w 4413566"/>
                  <a:gd name="connsiteY32" fmla="*/ 2116040 h 2116040"/>
                  <a:gd name="connsiteX0" fmla="*/ 902318 w 4413566"/>
                  <a:gd name="connsiteY0" fmla="*/ 253197 h 2116040"/>
                  <a:gd name="connsiteX1" fmla="*/ 920718 w 4413566"/>
                  <a:gd name="connsiteY1" fmla="*/ 202743 h 2116040"/>
                  <a:gd name="connsiteX2" fmla="*/ 986572 w 4413566"/>
                  <a:gd name="connsiteY2" fmla="*/ 0 h 2116040"/>
                  <a:gd name="connsiteX3" fmla="*/ 986572 w 4413566"/>
                  <a:gd name="connsiteY3" fmla="*/ 0 h 2116040"/>
                  <a:gd name="connsiteX4" fmla="*/ 920718 w 4413566"/>
                  <a:gd name="connsiteY4" fmla="*/ 202743 h 2116040"/>
                  <a:gd name="connsiteX5" fmla="*/ 902318 w 4413566"/>
                  <a:gd name="connsiteY5" fmla="*/ 253197 h 2116040"/>
                  <a:gd name="connsiteX6" fmla="*/ 0 w 4413566"/>
                  <a:gd name="connsiteY6" fmla="*/ 2116040 h 2116040"/>
                  <a:gd name="connsiteX7" fmla="*/ 27790 w 4413566"/>
                  <a:gd name="connsiteY7" fmla="*/ 2077314 h 2116040"/>
                  <a:gd name="connsiteX8" fmla="*/ 787596 w 4413566"/>
                  <a:gd name="connsiteY8" fmla="*/ 567764 h 2116040"/>
                  <a:gd name="connsiteX9" fmla="*/ 842151 w 4413566"/>
                  <a:gd name="connsiteY9" fmla="*/ 418174 h 2116040"/>
                  <a:gd name="connsiteX10" fmla="*/ 850800 w 4413566"/>
                  <a:gd name="connsiteY10" fmla="*/ 418174 h 2116040"/>
                  <a:gd name="connsiteX11" fmla="*/ 848900 w 4413566"/>
                  <a:gd name="connsiteY11" fmla="*/ 413096 h 2116040"/>
                  <a:gd name="connsiteX12" fmla="*/ 854080 w 4413566"/>
                  <a:gd name="connsiteY12" fmla="*/ 385466 h 2116040"/>
                  <a:gd name="connsiteX13" fmla="*/ 843595 w 4413566"/>
                  <a:gd name="connsiteY13" fmla="*/ 414215 h 2116040"/>
                  <a:gd name="connsiteX14" fmla="*/ 860769 w 4413566"/>
                  <a:gd name="connsiteY14" fmla="*/ 367123 h 2116040"/>
                  <a:gd name="connsiteX15" fmla="*/ 876487 w 4413566"/>
                  <a:gd name="connsiteY15" fmla="*/ 339383 h 2116040"/>
                  <a:gd name="connsiteX16" fmla="*/ 2206784 w 4413566"/>
                  <a:gd name="connsiteY16" fmla="*/ 47336 h 2116040"/>
                  <a:gd name="connsiteX17" fmla="*/ 3537081 w 4413566"/>
                  <a:gd name="connsiteY17" fmla="*/ 339383 h 2116040"/>
                  <a:gd name="connsiteX18" fmla="*/ 3552794 w 4413566"/>
                  <a:gd name="connsiteY18" fmla="*/ 367116 h 2116040"/>
                  <a:gd name="connsiteX19" fmla="*/ 3492848 w 4413566"/>
                  <a:gd name="connsiteY19" fmla="*/ 202743 h 2116040"/>
                  <a:gd name="connsiteX20" fmla="*/ 3570858 w 4413566"/>
                  <a:gd name="connsiteY20" fmla="*/ 416646 h 2116040"/>
                  <a:gd name="connsiteX21" fmla="*/ 3559490 w 4413566"/>
                  <a:gd name="connsiteY21" fmla="*/ 385477 h 2116040"/>
                  <a:gd name="connsiteX22" fmla="*/ 3564668 w 4413566"/>
                  <a:gd name="connsiteY22" fmla="*/ 413096 h 2116040"/>
                  <a:gd name="connsiteX23" fmla="*/ 3562767 w 4413566"/>
                  <a:gd name="connsiteY23" fmla="*/ 418174 h 2116040"/>
                  <a:gd name="connsiteX24" fmla="*/ 3571415 w 4413566"/>
                  <a:gd name="connsiteY24" fmla="*/ 418174 h 2116040"/>
                  <a:gd name="connsiteX25" fmla="*/ 3625970 w 4413566"/>
                  <a:gd name="connsiteY25" fmla="*/ 567764 h 2116040"/>
                  <a:gd name="connsiteX26" fmla="*/ 4385777 w 4413566"/>
                  <a:gd name="connsiteY26" fmla="*/ 2077314 h 2116040"/>
                  <a:gd name="connsiteX27" fmla="*/ 4413566 w 4413566"/>
                  <a:gd name="connsiteY27" fmla="*/ 2116038 h 2116040"/>
                  <a:gd name="connsiteX28" fmla="*/ 4372544 w 4413566"/>
                  <a:gd name="connsiteY28" fmla="*/ 2087447 h 2116040"/>
                  <a:gd name="connsiteX29" fmla="*/ 2206784 w 4413566"/>
                  <a:gd name="connsiteY29" fmla="*/ 1801898 h 2116040"/>
                  <a:gd name="connsiteX30" fmla="*/ 41024 w 4413566"/>
                  <a:gd name="connsiteY30" fmla="*/ 2087447 h 2116040"/>
                  <a:gd name="connsiteX31" fmla="*/ 0 w 4413566"/>
                  <a:gd name="connsiteY31" fmla="*/ 2116040 h 2116040"/>
                  <a:gd name="connsiteX0" fmla="*/ 902318 w 4413566"/>
                  <a:gd name="connsiteY0" fmla="*/ 253197 h 2116040"/>
                  <a:gd name="connsiteX1" fmla="*/ 920718 w 4413566"/>
                  <a:gd name="connsiteY1" fmla="*/ 202743 h 2116040"/>
                  <a:gd name="connsiteX2" fmla="*/ 986572 w 4413566"/>
                  <a:gd name="connsiteY2" fmla="*/ 0 h 2116040"/>
                  <a:gd name="connsiteX3" fmla="*/ 986572 w 4413566"/>
                  <a:gd name="connsiteY3" fmla="*/ 0 h 2116040"/>
                  <a:gd name="connsiteX4" fmla="*/ 920718 w 4413566"/>
                  <a:gd name="connsiteY4" fmla="*/ 202743 h 2116040"/>
                  <a:gd name="connsiteX5" fmla="*/ 902318 w 4413566"/>
                  <a:gd name="connsiteY5" fmla="*/ 253197 h 2116040"/>
                  <a:gd name="connsiteX6" fmla="*/ 0 w 4413566"/>
                  <a:gd name="connsiteY6" fmla="*/ 2116040 h 2116040"/>
                  <a:gd name="connsiteX7" fmla="*/ 27790 w 4413566"/>
                  <a:gd name="connsiteY7" fmla="*/ 2077314 h 2116040"/>
                  <a:gd name="connsiteX8" fmla="*/ 787596 w 4413566"/>
                  <a:gd name="connsiteY8" fmla="*/ 567764 h 2116040"/>
                  <a:gd name="connsiteX9" fmla="*/ 842151 w 4413566"/>
                  <a:gd name="connsiteY9" fmla="*/ 418174 h 2116040"/>
                  <a:gd name="connsiteX10" fmla="*/ 850800 w 4413566"/>
                  <a:gd name="connsiteY10" fmla="*/ 418174 h 2116040"/>
                  <a:gd name="connsiteX11" fmla="*/ 848900 w 4413566"/>
                  <a:gd name="connsiteY11" fmla="*/ 413096 h 2116040"/>
                  <a:gd name="connsiteX12" fmla="*/ 854080 w 4413566"/>
                  <a:gd name="connsiteY12" fmla="*/ 385466 h 2116040"/>
                  <a:gd name="connsiteX13" fmla="*/ 843595 w 4413566"/>
                  <a:gd name="connsiteY13" fmla="*/ 414215 h 2116040"/>
                  <a:gd name="connsiteX14" fmla="*/ 860769 w 4413566"/>
                  <a:gd name="connsiteY14" fmla="*/ 367123 h 2116040"/>
                  <a:gd name="connsiteX15" fmla="*/ 876487 w 4413566"/>
                  <a:gd name="connsiteY15" fmla="*/ 339383 h 2116040"/>
                  <a:gd name="connsiteX16" fmla="*/ 2206784 w 4413566"/>
                  <a:gd name="connsiteY16" fmla="*/ 47336 h 2116040"/>
                  <a:gd name="connsiteX17" fmla="*/ 3537081 w 4413566"/>
                  <a:gd name="connsiteY17" fmla="*/ 339383 h 2116040"/>
                  <a:gd name="connsiteX18" fmla="*/ 3552794 w 4413566"/>
                  <a:gd name="connsiteY18" fmla="*/ 367116 h 2116040"/>
                  <a:gd name="connsiteX19" fmla="*/ 3570858 w 4413566"/>
                  <a:gd name="connsiteY19" fmla="*/ 416646 h 2116040"/>
                  <a:gd name="connsiteX20" fmla="*/ 3559490 w 4413566"/>
                  <a:gd name="connsiteY20" fmla="*/ 385477 h 2116040"/>
                  <a:gd name="connsiteX21" fmla="*/ 3564668 w 4413566"/>
                  <a:gd name="connsiteY21" fmla="*/ 413096 h 2116040"/>
                  <a:gd name="connsiteX22" fmla="*/ 3562767 w 4413566"/>
                  <a:gd name="connsiteY22" fmla="*/ 418174 h 2116040"/>
                  <a:gd name="connsiteX23" fmla="*/ 3571415 w 4413566"/>
                  <a:gd name="connsiteY23" fmla="*/ 418174 h 2116040"/>
                  <a:gd name="connsiteX24" fmla="*/ 3625970 w 4413566"/>
                  <a:gd name="connsiteY24" fmla="*/ 567764 h 2116040"/>
                  <a:gd name="connsiteX25" fmla="*/ 4385777 w 4413566"/>
                  <a:gd name="connsiteY25" fmla="*/ 2077314 h 2116040"/>
                  <a:gd name="connsiteX26" fmla="*/ 4413566 w 4413566"/>
                  <a:gd name="connsiteY26" fmla="*/ 2116038 h 2116040"/>
                  <a:gd name="connsiteX27" fmla="*/ 4372544 w 4413566"/>
                  <a:gd name="connsiteY27" fmla="*/ 2087447 h 2116040"/>
                  <a:gd name="connsiteX28" fmla="*/ 2206784 w 4413566"/>
                  <a:gd name="connsiteY28" fmla="*/ 1801898 h 2116040"/>
                  <a:gd name="connsiteX29" fmla="*/ 41024 w 4413566"/>
                  <a:gd name="connsiteY29" fmla="*/ 2087447 h 2116040"/>
                  <a:gd name="connsiteX30" fmla="*/ 0 w 4413566"/>
                  <a:gd name="connsiteY30" fmla="*/ 2116040 h 2116040"/>
                  <a:gd name="connsiteX0" fmla="*/ 902318 w 4413566"/>
                  <a:gd name="connsiteY0" fmla="*/ 253197 h 2116040"/>
                  <a:gd name="connsiteX1" fmla="*/ 920718 w 4413566"/>
                  <a:gd name="connsiteY1" fmla="*/ 202743 h 2116040"/>
                  <a:gd name="connsiteX2" fmla="*/ 986572 w 4413566"/>
                  <a:gd name="connsiteY2" fmla="*/ 0 h 2116040"/>
                  <a:gd name="connsiteX3" fmla="*/ 920718 w 4413566"/>
                  <a:gd name="connsiteY3" fmla="*/ 202743 h 2116040"/>
                  <a:gd name="connsiteX4" fmla="*/ 902318 w 4413566"/>
                  <a:gd name="connsiteY4" fmla="*/ 253197 h 2116040"/>
                  <a:gd name="connsiteX5" fmla="*/ 0 w 4413566"/>
                  <a:gd name="connsiteY5" fmla="*/ 2116040 h 2116040"/>
                  <a:gd name="connsiteX6" fmla="*/ 27790 w 4413566"/>
                  <a:gd name="connsiteY6" fmla="*/ 2077314 h 2116040"/>
                  <a:gd name="connsiteX7" fmla="*/ 787596 w 4413566"/>
                  <a:gd name="connsiteY7" fmla="*/ 567764 h 2116040"/>
                  <a:gd name="connsiteX8" fmla="*/ 842151 w 4413566"/>
                  <a:gd name="connsiteY8" fmla="*/ 418174 h 2116040"/>
                  <a:gd name="connsiteX9" fmla="*/ 850800 w 4413566"/>
                  <a:gd name="connsiteY9" fmla="*/ 418174 h 2116040"/>
                  <a:gd name="connsiteX10" fmla="*/ 848900 w 4413566"/>
                  <a:gd name="connsiteY10" fmla="*/ 413096 h 2116040"/>
                  <a:gd name="connsiteX11" fmla="*/ 854080 w 4413566"/>
                  <a:gd name="connsiteY11" fmla="*/ 385466 h 2116040"/>
                  <a:gd name="connsiteX12" fmla="*/ 843595 w 4413566"/>
                  <a:gd name="connsiteY12" fmla="*/ 414215 h 2116040"/>
                  <a:gd name="connsiteX13" fmla="*/ 860769 w 4413566"/>
                  <a:gd name="connsiteY13" fmla="*/ 367123 h 2116040"/>
                  <a:gd name="connsiteX14" fmla="*/ 876487 w 4413566"/>
                  <a:gd name="connsiteY14" fmla="*/ 339383 h 2116040"/>
                  <a:gd name="connsiteX15" fmla="*/ 2206784 w 4413566"/>
                  <a:gd name="connsiteY15" fmla="*/ 47336 h 2116040"/>
                  <a:gd name="connsiteX16" fmla="*/ 3537081 w 4413566"/>
                  <a:gd name="connsiteY16" fmla="*/ 339383 h 2116040"/>
                  <a:gd name="connsiteX17" fmla="*/ 3552794 w 4413566"/>
                  <a:gd name="connsiteY17" fmla="*/ 367116 h 2116040"/>
                  <a:gd name="connsiteX18" fmla="*/ 3570858 w 4413566"/>
                  <a:gd name="connsiteY18" fmla="*/ 416646 h 2116040"/>
                  <a:gd name="connsiteX19" fmla="*/ 3559490 w 4413566"/>
                  <a:gd name="connsiteY19" fmla="*/ 385477 h 2116040"/>
                  <a:gd name="connsiteX20" fmla="*/ 3564668 w 4413566"/>
                  <a:gd name="connsiteY20" fmla="*/ 413096 h 2116040"/>
                  <a:gd name="connsiteX21" fmla="*/ 3562767 w 4413566"/>
                  <a:gd name="connsiteY21" fmla="*/ 418174 h 2116040"/>
                  <a:gd name="connsiteX22" fmla="*/ 3571415 w 4413566"/>
                  <a:gd name="connsiteY22" fmla="*/ 418174 h 2116040"/>
                  <a:gd name="connsiteX23" fmla="*/ 3625970 w 4413566"/>
                  <a:gd name="connsiteY23" fmla="*/ 567764 h 2116040"/>
                  <a:gd name="connsiteX24" fmla="*/ 4385777 w 4413566"/>
                  <a:gd name="connsiteY24" fmla="*/ 2077314 h 2116040"/>
                  <a:gd name="connsiteX25" fmla="*/ 4413566 w 4413566"/>
                  <a:gd name="connsiteY25" fmla="*/ 2116038 h 2116040"/>
                  <a:gd name="connsiteX26" fmla="*/ 4372544 w 4413566"/>
                  <a:gd name="connsiteY26" fmla="*/ 2087447 h 2116040"/>
                  <a:gd name="connsiteX27" fmla="*/ 2206784 w 4413566"/>
                  <a:gd name="connsiteY27" fmla="*/ 1801898 h 2116040"/>
                  <a:gd name="connsiteX28" fmla="*/ 41024 w 4413566"/>
                  <a:gd name="connsiteY28" fmla="*/ 2087447 h 2116040"/>
                  <a:gd name="connsiteX29" fmla="*/ 0 w 4413566"/>
                  <a:gd name="connsiteY29" fmla="*/ 2116040 h 2116040"/>
                  <a:gd name="connsiteX0" fmla="*/ 902318 w 4413566"/>
                  <a:gd name="connsiteY0" fmla="*/ 205861 h 2068704"/>
                  <a:gd name="connsiteX1" fmla="*/ 920718 w 4413566"/>
                  <a:gd name="connsiteY1" fmla="*/ 155407 h 2068704"/>
                  <a:gd name="connsiteX2" fmla="*/ 920718 w 4413566"/>
                  <a:gd name="connsiteY2" fmla="*/ 155407 h 2068704"/>
                  <a:gd name="connsiteX3" fmla="*/ 902318 w 4413566"/>
                  <a:gd name="connsiteY3" fmla="*/ 205861 h 2068704"/>
                  <a:gd name="connsiteX4" fmla="*/ 0 w 4413566"/>
                  <a:gd name="connsiteY4" fmla="*/ 2068704 h 2068704"/>
                  <a:gd name="connsiteX5" fmla="*/ 27790 w 4413566"/>
                  <a:gd name="connsiteY5" fmla="*/ 2029978 h 2068704"/>
                  <a:gd name="connsiteX6" fmla="*/ 787596 w 4413566"/>
                  <a:gd name="connsiteY6" fmla="*/ 520428 h 2068704"/>
                  <a:gd name="connsiteX7" fmla="*/ 842151 w 4413566"/>
                  <a:gd name="connsiteY7" fmla="*/ 370838 h 2068704"/>
                  <a:gd name="connsiteX8" fmla="*/ 850800 w 4413566"/>
                  <a:gd name="connsiteY8" fmla="*/ 370838 h 2068704"/>
                  <a:gd name="connsiteX9" fmla="*/ 848900 w 4413566"/>
                  <a:gd name="connsiteY9" fmla="*/ 365760 h 2068704"/>
                  <a:gd name="connsiteX10" fmla="*/ 854080 w 4413566"/>
                  <a:gd name="connsiteY10" fmla="*/ 338130 h 2068704"/>
                  <a:gd name="connsiteX11" fmla="*/ 843595 w 4413566"/>
                  <a:gd name="connsiteY11" fmla="*/ 366879 h 2068704"/>
                  <a:gd name="connsiteX12" fmla="*/ 860769 w 4413566"/>
                  <a:gd name="connsiteY12" fmla="*/ 319787 h 2068704"/>
                  <a:gd name="connsiteX13" fmla="*/ 876487 w 4413566"/>
                  <a:gd name="connsiteY13" fmla="*/ 292047 h 2068704"/>
                  <a:gd name="connsiteX14" fmla="*/ 2206784 w 4413566"/>
                  <a:gd name="connsiteY14" fmla="*/ 0 h 2068704"/>
                  <a:gd name="connsiteX15" fmla="*/ 3537081 w 4413566"/>
                  <a:gd name="connsiteY15" fmla="*/ 292047 h 2068704"/>
                  <a:gd name="connsiteX16" fmla="*/ 3552794 w 4413566"/>
                  <a:gd name="connsiteY16" fmla="*/ 319780 h 2068704"/>
                  <a:gd name="connsiteX17" fmla="*/ 3570858 w 4413566"/>
                  <a:gd name="connsiteY17" fmla="*/ 369310 h 2068704"/>
                  <a:gd name="connsiteX18" fmla="*/ 3559490 w 4413566"/>
                  <a:gd name="connsiteY18" fmla="*/ 338141 h 2068704"/>
                  <a:gd name="connsiteX19" fmla="*/ 3564668 w 4413566"/>
                  <a:gd name="connsiteY19" fmla="*/ 365760 h 2068704"/>
                  <a:gd name="connsiteX20" fmla="*/ 3562767 w 4413566"/>
                  <a:gd name="connsiteY20" fmla="*/ 370838 h 2068704"/>
                  <a:gd name="connsiteX21" fmla="*/ 3571415 w 4413566"/>
                  <a:gd name="connsiteY21" fmla="*/ 370838 h 2068704"/>
                  <a:gd name="connsiteX22" fmla="*/ 3625970 w 4413566"/>
                  <a:gd name="connsiteY22" fmla="*/ 520428 h 2068704"/>
                  <a:gd name="connsiteX23" fmla="*/ 4385777 w 4413566"/>
                  <a:gd name="connsiteY23" fmla="*/ 2029978 h 2068704"/>
                  <a:gd name="connsiteX24" fmla="*/ 4413566 w 4413566"/>
                  <a:gd name="connsiteY24" fmla="*/ 2068702 h 2068704"/>
                  <a:gd name="connsiteX25" fmla="*/ 4372544 w 4413566"/>
                  <a:gd name="connsiteY25" fmla="*/ 2040111 h 2068704"/>
                  <a:gd name="connsiteX26" fmla="*/ 2206784 w 4413566"/>
                  <a:gd name="connsiteY26" fmla="*/ 1754562 h 2068704"/>
                  <a:gd name="connsiteX27" fmla="*/ 41024 w 4413566"/>
                  <a:gd name="connsiteY27" fmla="*/ 2040111 h 2068704"/>
                  <a:gd name="connsiteX28" fmla="*/ 0 w 4413566"/>
                  <a:gd name="connsiteY28" fmla="*/ 2068704 h 2068704"/>
                  <a:gd name="connsiteX0" fmla="*/ 902318 w 4413566"/>
                  <a:gd name="connsiteY0" fmla="*/ 205861 h 2068704"/>
                  <a:gd name="connsiteX1" fmla="*/ 920718 w 4413566"/>
                  <a:gd name="connsiteY1" fmla="*/ 155407 h 2068704"/>
                  <a:gd name="connsiteX2" fmla="*/ 902318 w 4413566"/>
                  <a:gd name="connsiteY2" fmla="*/ 205861 h 2068704"/>
                  <a:gd name="connsiteX3" fmla="*/ 0 w 4413566"/>
                  <a:gd name="connsiteY3" fmla="*/ 2068704 h 2068704"/>
                  <a:gd name="connsiteX4" fmla="*/ 27790 w 4413566"/>
                  <a:gd name="connsiteY4" fmla="*/ 2029978 h 2068704"/>
                  <a:gd name="connsiteX5" fmla="*/ 787596 w 4413566"/>
                  <a:gd name="connsiteY5" fmla="*/ 520428 h 2068704"/>
                  <a:gd name="connsiteX6" fmla="*/ 842151 w 4413566"/>
                  <a:gd name="connsiteY6" fmla="*/ 370838 h 2068704"/>
                  <a:gd name="connsiteX7" fmla="*/ 850800 w 4413566"/>
                  <a:gd name="connsiteY7" fmla="*/ 370838 h 2068704"/>
                  <a:gd name="connsiteX8" fmla="*/ 848900 w 4413566"/>
                  <a:gd name="connsiteY8" fmla="*/ 365760 h 2068704"/>
                  <a:gd name="connsiteX9" fmla="*/ 854080 w 4413566"/>
                  <a:gd name="connsiteY9" fmla="*/ 338130 h 2068704"/>
                  <a:gd name="connsiteX10" fmla="*/ 843595 w 4413566"/>
                  <a:gd name="connsiteY10" fmla="*/ 366879 h 2068704"/>
                  <a:gd name="connsiteX11" fmla="*/ 860769 w 4413566"/>
                  <a:gd name="connsiteY11" fmla="*/ 319787 h 2068704"/>
                  <a:gd name="connsiteX12" fmla="*/ 876487 w 4413566"/>
                  <a:gd name="connsiteY12" fmla="*/ 292047 h 2068704"/>
                  <a:gd name="connsiteX13" fmla="*/ 2206784 w 4413566"/>
                  <a:gd name="connsiteY13" fmla="*/ 0 h 2068704"/>
                  <a:gd name="connsiteX14" fmla="*/ 3537081 w 4413566"/>
                  <a:gd name="connsiteY14" fmla="*/ 292047 h 2068704"/>
                  <a:gd name="connsiteX15" fmla="*/ 3552794 w 4413566"/>
                  <a:gd name="connsiteY15" fmla="*/ 319780 h 2068704"/>
                  <a:gd name="connsiteX16" fmla="*/ 3570858 w 4413566"/>
                  <a:gd name="connsiteY16" fmla="*/ 369310 h 2068704"/>
                  <a:gd name="connsiteX17" fmla="*/ 3559490 w 4413566"/>
                  <a:gd name="connsiteY17" fmla="*/ 338141 h 2068704"/>
                  <a:gd name="connsiteX18" fmla="*/ 3564668 w 4413566"/>
                  <a:gd name="connsiteY18" fmla="*/ 365760 h 2068704"/>
                  <a:gd name="connsiteX19" fmla="*/ 3562767 w 4413566"/>
                  <a:gd name="connsiteY19" fmla="*/ 370838 h 2068704"/>
                  <a:gd name="connsiteX20" fmla="*/ 3571415 w 4413566"/>
                  <a:gd name="connsiteY20" fmla="*/ 370838 h 2068704"/>
                  <a:gd name="connsiteX21" fmla="*/ 3625970 w 4413566"/>
                  <a:gd name="connsiteY21" fmla="*/ 520428 h 2068704"/>
                  <a:gd name="connsiteX22" fmla="*/ 4385777 w 4413566"/>
                  <a:gd name="connsiteY22" fmla="*/ 2029978 h 2068704"/>
                  <a:gd name="connsiteX23" fmla="*/ 4413566 w 4413566"/>
                  <a:gd name="connsiteY23" fmla="*/ 2068702 h 2068704"/>
                  <a:gd name="connsiteX24" fmla="*/ 4372544 w 4413566"/>
                  <a:gd name="connsiteY24" fmla="*/ 2040111 h 2068704"/>
                  <a:gd name="connsiteX25" fmla="*/ 2206784 w 4413566"/>
                  <a:gd name="connsiteY25" fmla="*/ 1754562 h 2068704"/>
                  <a:gd name="connsiteX26" fmla="*/ 41024 w 4413566"/>
                  <a:gd name="connsiteY26" fmla="*/ 2040111 h 2068704"/>
                  <a:gd name="connsiteX27" fmla="*/ 0 w 4413566"/>
                  <a:gd name="connsiteY27" fmla="*/ 2068704 h 2068704"/>
                  <a:gd name="connsiteX0" fmla="*/ 902318 w 4413566"/>
                  <a:gd name="connsiteY0" fmla="*/ 205861 h 2068704"/>
                  <a:gd name="connsiteX1" fmla="*/ 920718 w 4413566"/>
                  <a:gd name="connsiteY1" fmla="*/ 155407 h 2068704"/>
                  <a:gd name="connsiteX2" fmla="*/ 902318 w 4413566"/>
                  <a:gd name="connsiteY2" fmla="*/ 205861 h 2068704"/>
                  <a:gd name="connsiteX3" fmla="*/ 0 w 4413566"/>
                  <a:gd name="connsiteY3" fmla="*/ 2068704 h 2068704"/>
                  <a:gd name="connsiteX4" fmla="*/ 27790 w 4413566"/>
                  <a:gd name="connsiteY4" fmla="*/ 2029978 h 2068704"/>
                  <a:gd name="connsiteX5" fmla="*/ 787596 w 4413566"/>
                  <a:gd name="connsiteY5" fmla="*/ 520428 h 2068704"/>
                  <a:gd name="connsiteX6" fmla="*/ 842151 w 4413566"/>
                  <a:gd name="connsiteY6" fmla="*/ 370838 h 2068704"/>
                  <a:gd name="connsiteX7" fmla="*/ 850800 w 4413566"/>
                  <a:gd name="connsiteY7" fmla="*/ 370838 h 2068704"/>
                  <a:gd name="connsiteX8" fmla="*/ 848900 w 4413566"/>
                  <a:gd name="connsiteY8" fmla="*/ 365760 h 2068704"/>
                  <a:gd name="connsiteX9" fmla="*/ 854080 w 4413566"/>
                  <a:gd name="connsiteY9" fmla="*/ 338130 h 2068704"/>
                  <a:gd name="connsiteX10" fmla="*/ 860769 w 4413566"/>
                  <a:gd name="connsiteY10" fmla="*/ 319787 h 2068704"/>
                  <a:gd name="connsiteX11" fmla="*/ 876487 w 4413566"/>
                  <a:gd name="connsiteY11" fmla="*/ 292047 h 2068704"/>
                  <a:gd name="connsiteX12" fmla="*/ 2206784 w 4413566"/>
                  <a:gd name="connsiteY12" fmla="*/ 0 h 2068704"/>
                  <a:gd name="connsiteX13" fmla="*/ 3537081 w 4413566"/>
                  <a:gd name="connsiteY13" fmla="*/ 292047 h 2068704"/>
                  <a:gd name="connsiteX14" fmla="*/ 3552794 w 4413566"/>
                  <a:gd name="connsiteY14" fmla="*/ 319780 h 2068704"/>
                  <a:gd name="connsiteX15" fmla="*/ 3570858 w 4413566"/>
                  <a:gd name="connsiteY15" fmla="*/ 369310 h 2068704"/>
                  <a:gd name="connsiteX16" fmla="*/ 3559490 w 4413566"/>
                  <a:gd name="connsiteY16" fmla="*/ 338141 h 2068704"/>
                  <a:gd name="connsiteX17" fmla="*/ 3564668 w 4413566"/>
                  <a:gd name="connsiteY17" fmla="*/ 365760 h 2068704"/>
                  <a:gd name="connsiteX18" fmla="*/ 3562767 w 4413566"/>
                  <a:gd name="connsiteY18" fmla="*/ 370838 h 2068704"/>
                  <a:gd name="connsiteX19" fmla="*/ 3571415 w 4413566"/>
                  <a:gd name="connsiteY19" fmla="*/ 370838 h 2068704"/>
                  <a:gd name="connsiteX20" fmla="*/ 3625970 w 4413566"/>
                  <a:gd name="connsiteY20" fmla="*/ 520428 h 2068704"/>
                  <a:gd name="connsiteX21" fmla="*/ 4385777 w 4413566"/>
                  <a:gd name="connsiteY21" fmla="*/ 2029978 h 2068704"/>
                  <a:gd name="connsiteX22" fmla="*/ 4413566 w 4413566"/>
                  <a:gd name="connsiteY22" fmla="*/ 2068702 h 2068704"/>
                  <a:gd name="connsiteX23" fmla="*/ 4372544 w 4413566"/>
                  <a:gd name="connsiteY23" fmla="*/ 2040111 h 2068704"/>
                  <a:gd name="connsiteX24" fmla="*/ 2206784 w 4413566"/>
                  <a:gd name="connsiteY24" fmla="*/ 1754562 h 2068704"/>
                  <a:gd name="connsiteX25" fmla="*/ 41024 w 4413566"/>
                  <a:gd name="connsiteY25" fmla="*/ 2040111 h 2068704"/>
                  <a:gd name="connsiteX26" fmla="*/ 0 w 4413566"/>
                  <a:gd name="connsiteY26" fmla="*/ 2068704 h 2068704"/>
                  <a:gd name="connsiteX0" fmla="*/ 0 w 4413566"/>
                  <a:gd name="connsiteY0" fmla="*/ 2068704 h 2068704"/>
                  <a:gd name="connsiteX1" fmla="*/ 27790 w 4413566"/>
                  <a:gd name="connsiteY1" fmla="*/ 2029978 h 2068704"/>
                  <a:gd name="connsiteX2" fmla="*/ 787596 w 4413566"/>
                  <a:gd name="connsiteY2" fmla="*/ 520428 h 2068704"/>
                  <a:gd name="connsiteX3" fmla="*/ 842151 w 4413566"/>
                  <a:gd name="connsiteY3" fmla="*/ 370838 h 2068704"/>
                  <a:gd name="connsiteX4" fmla="*/ 850800 w 4413566"/>
                  <a:gd name="connsiteY4" fmla="*/ 370838 h 2068704"/>
                  <a:gd name="connsiteX5" fmla="*/ 848900 w 4413566"/>
                  <a:gd name="connsiteY5" fmla="*/ 365760 h 2068704"/>
                  <a:gd name="connsiteX6" fmla="*/ 854080 w 4413566"/>
                  <a:gd name="connsiteY6" fmla="*/ 338130 h 2068704"/>
                  <a:gd name="connsiteX7" fmla="*/ 860769 w 4413566"/>
                  <a:gd name="connsiteY7" fmla="*/ 319787 h 2068704"/>
                  <a:gd name="connsiteX8" fmla="*/ 876487 w 4413566"/>
                  <a:gd name="connsiteY8" fmla="*/ 292047 h 2068704"/>
                  <a:gd name="connsiteX9" fmla="*/ 2206784 w 4413566"/>
                  <a:gd name="connsiteY9" fmla="*/ 0 h 2068704"/>
                  <a:gd name="connsiteX10" fmla="*/ 3537081 w 4413566"/>
                  <a:gd name="connsiteY10" fmla="*/ 292047 h 2068704"/>
                  <a:gd name="connsiteX11" fmla="*/ 3552794 w 4413566"/>
                  <a:gd name="connsiteY11" fmla="*/ 319780 h 2068704"/>
                  <a:gd name="connsiteX12" fmla="*/ 3570858 w 4413566"/>
                  <a:gd name="connsiteY12" fmla="*/ 369310 h 2068704"/>
                  <a:gd name="connsiteX13" fmla="*/ 3559490 w 4413566"/>
                  <a:gd name="connsiteY13" fmla="*/ 338141 h 2068704"/>
                  <a:gd name="connsiteX14" fmla="*/ 3564668 w 4413566"/>
                  <a:gd name="connsiteY14" fmla="*/ 365760 h 2068704"/>
                  <a:gd name="connsiteX15" fmla="*/ 3562767 w 4413566"/>
                  <a:gd name="connsiteY15" fmla="*/ 370838 h 2068704"/>
                  <a:gd name="connsiteX16" fmla="*/ 3571415 w 4413566"/>
                  <a:gd name="connsiteY16" fmla="*/ 370838 h 2068704"/>
                  <a:gd name="connsiteX17" fmla="*/ 3625970 w 4413566"/>
                  <a:gd name="connsiteY17" fmla="*/ 520428 h 2068704"/>
                  <a:gd name="connsiteX18" fmla="*/ 4385777 w 4413566"/>
                  <a:gd name="connsiteY18" fmla="*/ 2029978 h 2068704"/>
                  <a:gd name="connsiteX19" fmla="*/ 4413566 w 4413566"/>
                  <a:gd name="connsiteY19" fmla="*/ 2068702 h 2068704"/>
                  <a:gd name="connsiteX20" fmla="*/ 4372544 w 4413566"/>
                  <a:gd name="connsiteY20" fmla="*/ 2040111 h 2068704"/>
                  <a:gd name="connsiteX21" fmla="*/ 2206784 w 4413566"/>
                  <a:gd name="connsiteY21" fmla="*/ 1754562 h 2068704"/>
                  <a:gd name="connsiteX22" fmla="*/ 41024 w 4413566"/>
                  <a:gd name="connsiteY22" fmla="*/ 2040111 h 2068704"/>
                  <a:gd name="connsiteX23" fmla="*/ 0 w 4413566"/>
                  <a:gd name="connsiteY23" fmla="*/ 2068704 h 2068704"/>
                  <a:gd name="connsiteX0" fmla="*/ 0 w 4413566"/>
                  <a:gd name="connsiteY0" fmla="*/ 2068704 h 2068704"/>
                  <a:gd name="connsiteX1" fmla="*/ 27790 w 4413566"/>
                  <a:gd name="connsiteY1" fmla="*/ 2029978 h 2068704"/>
                  <a:gd name="connsiteX2" fmla="*/ 787596 w 4413566"/>
                  <a:gd name="connsiteY2" fmla="*/ 520428 h 2068704"/>
                  <a:gd name="connsiteX3" fmla="*/ 842151 w 4413566"/>
                  <a:gd name="connsiteY3" fmla="*/ 370838 h 2068704"/>
                  <a:gd name="connsiteX4" fmla="*/ 850800 w 4413566"/>
                  <a:gd name="connsiteY4" fmla="*/ 370838 h 2068704"/>
                  <a:gd name="connsiteX5" fmla="*/ 854080 w 4413566"/>
                  <a:gd name="connsiteY5" fmla="*/ 338130 h 2068704"/>
                  <a:gd name="connsiteX6" fmla="*/ 860769 w 4413566"/>
                  <a:gd name="connsiteY6" fmla="*/ 319787 h 2068704"/>
                  <a:gd name="connsiteX7" fmla="*/ 876487 w 4413566"/>
                  <a:gd name="connsiteY7" fmla="*/ 292047 h 2068704"/>
                  <a:gd name="connsiteX8" fmla="*/ 2206784 w 4413566"/>
                  <a:gd name="connsiteY8" fmla="*/ 0 h 2068704"/>
                  <a:gd name="connsiteX9" fmla="*/ 3537081 w 4413566"/>
                  <a:gd name="connsiteY9" fmla="*/ 292047 h 2068704"/>
                  <a:gd name="connsiteX10" fmla="*/ 3552794 w 4413566"/>
                  <a:gd name="connsiteY10" fmla="*/ 319780 h 2068704"/>
                  <a:gd name="connsiteX11" fmla="*/ 3570858 w 4413566"/>
                  <a:gd name="connsiteY11" fmla="*/ 369310 h 2068704"/>
                  <a:gd name="connsiteX12" fmla="*/ 3559490 w 4413566"/>
                  <a:gd name="connsiteY12" fmla="*/ 338141 h 2068704"/>
                  <a:gd name="connsiteX13" fmla="*/ 3564668 w 4413566"/>
                  <a:gd name="connsiteY13" fmla="*/ 365760 h 2068704"/>
                  <a:gd name="connsiteX14" fmla="*/ 3562767 w 4413566"/>
                  <a:gd name="connsiteY14" fmla="*/ 370838 h 2068704"/>
                  <a:gd name="connsiteX15" fmla="*/ 3571415 w 4413566"/>
                  <a:gd name="connsiteY15" fmla="*/ 370838 h 2068704"/>
                  <a:gd name="connsiteX16" fmla="*/ 3625970 w 4413566"/>
                  <a:gd name="connsiteY16" fmla="*/ 520428 h 2068704"/>
                  <a:gd name="connsiteX17" fmla="*/ 4385777 w 4413566"/>
                  <a:gd name="connsiteY17" fmla="*/ 2029978 h 2068704"/>
                  <a:gd name="connsiteX18" fmla="*/ 4413566 w 4413566"/>
                  <a:gd name="connsiteY18" fmla="*/ 2068702 h 2068704"/>
                  <a:gd name="connsiteX19" fmla="*/ 4372544 w 4413566"/>
                  <a:gd name="connsiteY19" fmla="*/ 2040111 h 2068704"/>
                  <a:gd name="connsiteX20" fmla="*/ 2206784 w 4413566"/>
                  <a:gd name="connsiteY20" fmla="*/ 1754562 h 2068704"/>
                  <a:gd name="connsiteX21" fmla="*/ 41024 w 4413566"/>
                  <a:gd name="connsiteY21" fmla="*/ 2040111 h 2068704"/>
                  <a:gd name="connsiteX22" fmla="*/ 0 w 4413566"/>
                  <a:gd name="connsiteY22" fmla="*/ 2068704 h 2068704"/>
                  <a:gd name="connsiteX0" fmla="*/ 0 w 4413566"/>
                  <a:gd name="connsiteY0" fmla="*/ 2068704 h 2068704"/>
                  <a:gd name="connsiteX1" fmla="*/ 27790 w 4413566"/>
                  <a:gd name="connsiteY1" fmla="*/ 2029978 h 2068704"/>
                  <a:gd name="connsiteX2" fmla="*/ 787596 w 4413566"/>
                  <a:gd name="connsiteY2" fmla="*/ 520428 h 2068704"/>
                  <a:gd name="connsiteX3" fmla="*/ 842151 w 4413566"/>
                  <a:gd name="connsiteY3" fmla="*/ 370838 h 2068704"/>
                  <a:gd name="connsiteX4" fmla="*/ 854080 w 4413566"/>
                  <a:gd name="connsiteY4" fmla="*/ 338130 h 2068704"/>
                  <a:gd name="connsiteX5" fmla="*/ 860769 w 4413566"/>
                  <a:gd name="connsiteY5" fmla="*/ 319787 h 2068704"/>
                  <a:gd name="connsiteX6" fmla="*/ 876487 w 4413566"/>
                  <a:gd name="connsiteY6" fmla="*/ 292047 h 2068704"/>
                  <a:gd name="connsiteX7" fmla="*/ 2206784 w 4413566"/>
                  <a:gd name="connsiteY7" fmla="*/ 0 h 2068704"/>
                  <a:gd name="connsiteX8" fmla="*/ 3537081 w 4413566"/>
                  <a:gd name="connsiteY8" fmla="*/ 292047 h 2068704"/>
                  <a:gd name="connsiteX9" fmla="*/ 3552794 w 4413566"/>
                  <a:gd name="connsiteY9" fmla="*/ 319780 h 2068704"/>
                  <a:gd name="connsiteX10" fmla="*/ 3570858 w 4413566"/>
                  <a:gd name="connsiteY10" fmla="*/ 369310 h 2068704"/>
                  <a:gd name="connsiteX11" fmla="*/ 3559490 w 4413566"/>
                  <a:gd name="connsiteY11" fmla="*/ 338141 h 2068704"/>
                  <a:gd name="connsiteX12" fmla="*/ 3564668 w 4413566"/>
                  <a:gd name="connsiteY12" fmla="*/ 365760 h 2068704"/>
                  <a:gd name="connsiteX13" fmla="*/ 3562767 w 4413566"/>
                  <a:gd name="connsiteY13" fmla="*/ 370838 h 2068704"/>
                  <a:gd name="connsiteX14" fmla="*/ 3571415 w 4413566"/>
                  <a:gd name="connsiteY14" fmla="*/ 370838 h 2068704"/>
                  <a:gd name="connsiteX15" fmla="*/ 3625970 w 4413566"/>
                  <a:gd name="connsiteY15" fmla="*/ 520428 h 2068704"/>
                  <a:gd name="connsiteX16" fmla="*/ 4385777 w 4413566"/>
                  <a:gd name="connsiteY16" fmla="*/ 2029978 h 2068704"/>
                  <a:gd name="connsiteX17" fmla="*/ 4413566 w 4413566"/>
                  <a:gd name="connsiteY17" fmla="*/ 2068702 h 2068704"/>
                  <a:gd name="connsiteX18" fmla="*/ 4372544 w 4413566"/>
                  <a:gd name="connsiteY18" fmla="*/ 2040111 h 2068704"/>
                  <a:gd name="connsiteX19" fmla="*/ 2206784 w 4413566"/>
                  <a:gd name="connsiteY19" fmla="*/ 1754562 h 2068704"/>
                  <a:gd name="connsiteX20" fmla="*/ 41024 w 4413566"/>
                  <a:gd name="connsiteY20" fmla="*/ 2040111 h 2068704"/>
                  <a:gd name="connsiteX21" fmla="*/ 0 w 4413566"/>
                  <a:gd name="connsiteY21" fmla="*/ 2068704 h 2068704"/>
                  <a:gd name="connsiteX0" fmla="*/ 0 w 4413566"/>
                  <a:gd name="connsiteY0" fmla="*/ 2068704 h 2068704"/>
                  <a:gd name="connsiteX1" fmla="*/ 27790 w 4413566"/>
                  <a:gd name="connsiteY1" fmla="*/ 2029978 h 2068704"/>
                  <a:gd name="connsiteX2" fmla="*/ 787596 w 4413566"/>
                  <a:gd name="connsiteY2" fmla="*/ 520428 h 2068704"/>
                  <a:gd name="connsiteX3" fmla="*/ 842151 w 4413566"/>
                  <a:gd name="connsiteY3" fmla="*/ 370838 h 2068704"/>
                  <a:gd name="connsiteX4" fmla="*/ 854080 w 4413566"/>
                  <a:gd name="connsiteY4" fmla="*/ 338130 h 2068704"/>
                  <a:gd name="connsiteX5" fmla="*/ 860769 w 4413566"/>
                  <a:gd name="connsiteY5" fmla="*/ 319787 h 2068704"/>
                  <a:gd name="connsiteX6" fmla="*/ 876487 w 4413566"/>
                  <a:gd name="connsiteY6" fmla="*/ 292047 h 2068704"/>
                  <a:gd name="connsiteX7" fmla="*/ 2206784 w 4413566"/>
                  <a:gd name="connsiteY7" fmla="*/ 0 h 2068704"/>
                  <a:gd name="connsiteX8" fmla="*/ 3537081 w 4413566"/>
                  <a:gd name="connsiteY8" fmla="*/ 292047 h 2068704"/>
                  <a:gd name="connsiteX9" fmla="*/ 3552794 w 4413566"/>
                  <a:gd name="connsiteY9" fmla="*/ 319780 h 2068704"/>
                  <a:gd name="connsiteX10" fmla="*/ 3570858 w 4413566"/>
                  <a:gd name="connsiteY10" fmla="*/ 369310 h 2068704"/>
                  <a:gd name="connsiteX11" fmla="*/ 3559490 w 4413566"/>
                  <a:gd name="connsiteY11" fmla="*/ 338141 h 2068704"/>
                  <a:gd name="connsiteX12" fmla="*/ 3564668 w 4413566"/>
                  <a:gd name="connsiteY12" fmla="*/ 365760 h 2068704"/>
                  <a:gd name="connsiteX13" fmla="*/ 3562767 w 4413566"/>
                  <a:gd name="connsiteY13" fmla="*/ 370838 h 2068704"/>
                  <a:gd name="connsiteX14" fmla="*/ 3625970 w 4413566"/>
                  <a:gd name="connsiteY14" fmla="*/ 520428 h 2068704"/>
                  <a:gd name="connsiteX15" fmla="*/ 4385777 w 4413566"/>
                  <a:gd name="connsiteY15" fmla="*/ 2029978 h 2068704"/>
                  <a:gd name="connsiteX16" fmla="*/ 4413566 w 4413566"/>
                  <a:gd name="connsiteY16" fmla="*/ 2068702 h 2068704"/>
                  <a:gd name="connsiteX17" fmla="*/ 4372544 w 4413566"/>
                  <a:gd name="connsiteY17" fmla="*/ 2040111 h 2068704"/>
                  <a:gd name="connsiteX18" fmla="*/ 2206784 w 4413566"/>
                  <a:gd name="connsiteY18" fmla="*/ 1754562 h 2068704"/>
                  <a:gd name="connsiteX19" fmla="*/ 41024 w 4413566"/>
                  <a:gd name="connsiteY19" fmla="*/ 2040111 h 2068704"/>
                  <a:gd name="connsiteX20" fmla="*/ 0 w 4413566"/>
                  <a:gd name="connsiteY20" fmla="*/ 2068704 h 2068704"/>
                  <a:gd name="connsiteX0" fmla="*/ 0 w 4413566"/>
                  <a:gd name="connsiteY0" fmla="*/ 2068704 h 2068704"/>
                  <a:gd name="connsiteX1" fmla="*/ 27790 w 4413566"/>
                  <a:gd name="connsiteY1" fmla="*/ 2029978 h 2068704"/>
                  <a:gd name="connsiteX2" fmla="*/ 787596 w 4413566"/>
                  <a:gd name="connsiteY2" fmla="*/ 520428 h 2068704"/>
                  <a:gd name="connsiteX3" fmla="*/ 842151 w 4413566"/>
                  <a:gd name="connsiteY3" fmla="*/ 370838 h 2068704"/>
                  <a:gd name="connsiteX4" fmla="*/ 854080 w 4413566"/>
                  <a:gd name="connsiteY4" fmla="*/ 338130 h 2068704"/>
                  <a:gd name="connsiteX5" fmla="*/ 860769 w 4413566"/>
                  <a:gd name="connsiteY5" fmla="*/ 319787 h 2068704"/>
                  <a:gd name="connsiteX6" fmla="*/ 876487 w 4413566"/>
                  <a:gd name="connsiteY6" fmla="*/ 292047 h 2068704"/>
                  <a:gd name="connsiteX7" fmla="*/ 2206784 w 4413566"/>
                  <a:gd name="connsiteY7" fmla="*/ 0 h 2068704"/>
                  <a:gd name="connsiteX8" fmla="*/ 3537081 w 4413566"/>
                  <a:gd name="connsiteY8" fmla="*/ 292047 h 2068704"/>
                  <a:gd name="connsiteX9" fmla="*/ 3552794 w 4413566"/>
                  <a:gd name="connsiteY9" fmla="*/ 319780 h 2068704"/>
                  <a:gd name="connsiteX10" fmla="*/ 3570858 w 4413566"/>
                  <a:gd name="connsiteY10" fmla="*/ 369310 h 2068704"/>
                  <a:gd name="connsiteX11" fmla="*/ 3559490 w 4413566"/>
                  <a:gd name="connsiteY11" fmla="*/ 338141 h 2068704"/>
                  <a:gd name="connsiteX12" fmla="*/ 3564668 w 4413566"/>
                  <a:gd name="connsiteY12" fmla="*/ 365760 h 2068704"/>
                  <a:gd name="connsiteX13" fmla="*/ 3625970 w 4413566"/>
                  <a:gd name="connsiteY13" fmla="*/ 520428 h 2068704"/>
                  <a:gd name="connsiteX14" fmla="*/ 4385777 w 4413566"/>
                  <a:gd name="connsiteY14" fmla="*/ 2029978 h 2068704"/>
                  <a:gd name="connsiteX15" fmla="*/ 4413566 w 4413566"/>
                  <a:gd name="connsiteY15" fmla="*/ 2068702 h 2068704"/>
                  <a:gd name="connsiteX16" fmla="*/ 4372544 w 4413566"/>
                  <a:gd name="connsiteY16" fmla="*/ 2040111 h 2068704"/>
                  <a:gd name="connsiteX17" fmla="*/ 2206784 w 4413566"/>
                  <a:gd name="connsiteY17" fmla="*/ 1754562 h 2068704"/>
                  <a:gd name="connsiteX18" fmla="*/ 41024 w 4413566"/>
                  <a:gd name="connsiteY18" fmla="*/ 2040111 h 2068704"/>
                  <a:gd name="connsiteX19" fmla="*/ 0 w 4413566"/>
                  <a:gd name="connsiteY19" fmla="*/ 2068704 h 2068704"/>
                  <a:gd name="connsiteX0" fmla="*/ 0 w 4413566"/>
                  <a:gd name="connsiteY0" fmla="*/ 2068704 h 2068704"/>
                  <a:gd name="connsiteX1" fmla="*/ 27790 w 4413566"/>
                  <a:gd name="connsiteY1" fmla="*/ 2029978 h 2068704"/>
                  <a:gd name="connsiteX2" fmla="*/ 787596 w 4413566"/>
                  <a:gd name="connsiteY2" fmla="*/ 520428 h 2068704"/>
                  <a:gd name="connsiteX3" fmla="*/ 842151 w 4413566"/>
                  <a:gd name="connsiteY3" fmla="*/ 370838 h 2068704"/>
                  <a:gd name="connsiteX4" fmla="*/ 854080 w 4413566"/>
                  <a:gd name="connsiteY4" fmla="*/ 338130 h 2068704"/>
                  <a:gd name="connsiteX5" fmla="*/ 860769 w 4413566"/>
                  <a:gd name="connsiteY5" fmla="*/ 319787 h 2068704"/>
                  <a:gd name="connsiteX6" fmla="*/ 876487 w 4413566"/>
                  <a:gd name="connsiteY6" fmla="*/ 292047 h 2068704"/>
                  <a:gd name="connsiteX7" fmla="*/ 2206784 w 4413566"/>
                  <a:gd name="connsiteY7" fmla="*/ 0 h 2068704"/>
                  <a:gd name="connsiteX8" fmla="*/ 3537081 w 4413566"/>
                  <a:gd name="connsiteY8" fmla="*/ 292047 h 2068704"/>
                  <a:gd name="connsiteX9" fmla="*/ 3552794 w 4413566"/>
                  <a:gd name="connsiteY9" fmla="*/ 319780 h 2068704"/>
                  <a:gd name="connsiteX10" fmla="*/ 3570858 w 4413566"/>
                  <a:gd name="connsiteY10" fmla="*/ 369310 h 2068704"/>
                  <a:gd name="connsiteX11" fmla="*/ 3559490 w 4413566"/>
                  <a:gd name="connsiteY11" fmla="*/ 338141 h 2068704"/>
                  <a:gd name="connsiteX12" fmla="*/ 3625970 w 4413566"/>
                  <a:gd name="connsiteY12" fmla="*/ 520428 h 2068704"/>
                  <a:gd name="connsiteX13" fmla="*/ 4385777 w 4413566"/>
                  <a:gd name="connsiteY13" fmla="*/ 2029978 h 2068704"/>
                  <a:gd name="connsiteX14" fmla="*/ 4413566 w 4413566"/>
                  <a:gd name="connsiteY14" fmla="*/ 2068702 h 2068704"/>
                  <a:gd name="connsiteX15" fmla="*/ 4372544 w 4413566"/>
                  <a:gd name="connsiteY15" fmla="*/ 2040111 h 2068704"/>
                  <a:gd name="connsiteX16" fmla="*/ 2206784 w 4413566"/>
                  <a:gd name="connsiteY16" fmla="*/ 1754562 h 2068704"/>
                  <a:gd name="connsiteX17" fmla="*/ 41024 w 4413566"/>
                  <a:gd name="connsiteY17" fmla="*/ 2040111 h 2068704"/>
                  <a:gd name="connsiteX18" fmla="*/ 0 w 4413566"/>
                  <a:gd name="connsiteY18" fmla="*/ 2068704 h 2068704"/>
                  <a:gd name="connsiteX0" fmla="*/ 0 w 4413566"/>
                  <a:gd name="connsiteY0" fmla="*/ 2068704 h 2068704"/>
                  <a:gd name="connsiteX1" fmla="*/ 27790 w 4413566"/>
                  <a:gd name="connsiteY1" fmla="*/ 2029978 h 2068704"/>
                  <a:gd name="connsiteX2" fmla="*/ 787596 w 4413566"/>
                  <a:gd name="connsiteY2" fmla="*/ 520428 h 2068704"/>
                  <a:gd name="connsiteX3" fmla="*/ 842151 w 4413566"/>
                  <a:gd name="connsiteY3" fmla="*/ 370838 h 2068704"/>
                  <a:gd name="connsiteX4" fmla="*/ 854080 w 4413566"/>
                  <a:gd name="connsiteY4" fmla="*/ 338130 h 2068704"/>
                  <a:gd name="connsiteX5" fmla="*/ 860769 w 4413566"/>
                  <a:gd name="connsiteY5" fmla="*/ 319787 h 2068704"/>
                  <a:gd name="connsiteX6" fmla="*/ 876487 w 4413566"/>
                  <a:gd name="connsiteY6" fmla="*/ 292047 h 2068704"/>
                  <a:gd name="connsiteX7" fmla="*/ 2206784 w 4413566"/>
                  <a:gd name="connsiteY7" fmla="*/ 0 h 2068704"/>
                  <a:gd name="connsiteX8" fmla="*/ 3537081 w 4413566"/>
                  <a:gd name="connsiteY8" fmla="*/ 292047 h 2068704"/>
                  <a:gd name="connsiteX9" fmla="*/ 3552794 w 4413566"/>
                  <a:gd name="connsiteY9" fmla="*/ 319780 h 2068704"/>
                  <a:gd name="connsiteX10" fmla="*/ 3559490 w 4413566"/>
                  <a:gd name="connsiteY10" fmla="*/ 338141 h 2068704"/>
                  <a:gd name="connsiteX11" fmla="*/ 3625970 w 4413566"/>
                  <a:gd name="connsiteY11" fmla="*/ 520428 h 2068704"/>
                  <a:gd name="connsiteX12" fmla="*/ 4385777 w 4413566"/>
                  <a:gd name="connsiteY12" fmla="*/ 2029978 h 2068704"/>
                  <a:gd name="connsiteX13" fmla="*/ 4413566 w 4413566"/>
                  <a:gd name="connsiteY13" fmla="*/ 2068702 h 2068704"/>
                  <a:gd name="connsiteX14" fmla="*/ 4372544 w 4413566"/>
                  <a:gd name="connsiteY14" fmla="*/ 2040111 h 2068704"/>
                  <a:gd name="connsiteX15" fmla="*/ 2206784 w 4413566"/>
                  <a:gd name="connsiteY15" fmla="*/ 1754562 h 2068704"/>
                  <a:gd name="connsiteX16" fmla="*/ 41024 w 4413566"/>
                  <a:gd name="connsiteY16" fmla="*/ 2040111 h 2068704"/>
                  <a:gd name="connsiteX17" fmla="*/ 0 w 4413566"/>
                  <a:gd name="connsiteY17" fmla="*/ 2068704 h 2068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13566" h="2068704">
                    <a:moveTo>
                      <a:pt x="0" y="2068704"/>
                    </a:moveTo>
                    <a:lnTo>
                      <a:pt x="27790" y="2029978"/>
                    </a:lnTo>
                    <a:cubicBezTo>
                      <a:pt x="297246" y="1629288"/>
                      <a:pt x="558831" y="1113738"/>
                      <a:pt x="787596" y="520428"/>
                    </a:cubicBezTo>
                    <a:lnTo>
                      <a:pt x="842151" y="370838"/>
                    </a:lnTo>
                    <a:lnTo>
                      <a:pt x="854080" y="338130"/>
                    </a:lnTo>
                    <a:lnTo>
                      <a:pt x="860769" y="319787"/>
                    </a:lnTo>
                    <a:lnTo>
                      <a:pt x="876487" y="292047"/>
                    </a:lnTo>
                    <a:cubicBezTo>
                      <a:pt x="1003105" y="125376"/>
                      <a:pt x="1550587" y="0"/>
                      <a:pt x="2206784" y="0"/>
                    </a:cubicBezTo>
                    <a:cubicBezTo>
                      <a:pt x="2862981" y="0"/>
                      <a:pt x="3410463" y="125376"/>
                      <a:pt x="3537081" y="292047"/>
                    </a:cubicBezTo>
                    <a:lnTo>
                      <a:pt x="3552794" y="319780"/>
                    </a:lnTo>
                    <a:lnTo>
                      <a:pt x="3559490" y="338141"/>
                    </a:lnTo>
                    <a:lnTo>
                      <a:pt x="3625970" y="520428"/>
                    </a:lnTo>
                    <a:cubicBezTo>
                      <a:pt x="3854736" y="1113738"/>
                      <a:pt x="4116321" y="1629288"/>
                      <a:pt x="4385777" y="2029978"/>
                    </a:cubicBezTo>
                    <a:lnTo>
                      <a:pt x="4413566" y="2068702"/>
                    </a:lnTo>
                    <a:lnTo>
                      <a:pt x="4372544" y="2040111"/>
                    </a:lnTo>
                    <a:cubicBezTo>
                      <a:pt x="4085426" y="1874678"/>
                      <a:pt x="3224378" y="1754562"/>
                      <a:pt x="2206784" y="1754562"/>
                    </a:cubicBezTo>
                    <a:cubicBezTo>
                      <a:pt x="1189190" y="1754562"/>
                      <a:pt x="328142" y="1874678"/>
                      <a:pt x="41024" y="2040111"/>
                    </a:cubicBezTo>
                    <a:lnTo>
                      <a:pt x="0" y="2068704"/>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p:cNvSpPr/>
              <p:nvPr/>
            </p:nvSpPr>
            <p:spPr>
              <a:xfrm>
                <a:off x="2464142" y="1388916"/>
                <a:ext cx="4215715" cy="607332"/>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p:cNvSpPr/>
              <p:nvPr/>
            </p:nvSpPr>
            <p:spPr>
              <a:xfrm>
                <a:off x="3158525" y="1523999"/>
                <a:ext cx="2826947" cy="372110"/>
              </a:xfrm>
              <a:prstGeom prst="ellipse">
                <a:avLst/>
              </a:prstGeom>
              <a:solidFill>
                <a:schemeClr val="tx1">
                  <a:lumMod val="85000"/>
                  <a:lumOff val="15000"/>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24"/>
              <p:cNvSpPr/>
              <p:nvPr/>
            </p:nvSpPr>
            <p:spPr>
              <a:xfrm rot="10800000">
                <a:off x="4947752" y="1882266"/>
                <a:ext cx="1281597" cy="3950208"/>
              </a:xfrm>
              <a:custGeom>
                <a:avLst/>
                <a:gdLst>
                  <a:gd name="connsiteX0" fmla="*/ 0 w 1342943"/>
                  <a:gd name="connsiteY0" fmla="*/ 5283193 h 5283193"/>
                  <a:gd name="connsiteX1" fmla="*/ 24939 w 1342943"/>
                  <a:gd name="connsiteY1" fmla="*/ 5236257 h 5283193"/>
                  <a:gd name="connsiteX2" fmla="*/ 886190 w 1342943"/>
                  <a:gd name="connsiteY2" fmla="*/ 2701666 h 5283193"/>
                  <a:gd name="connsiteX3" fmla="*/ 1203405 w 1342943"/>
                  <a:gd name="connsiteY3" fmla="*/ 289738 h 5283193"/>
                  <a:gd name="connsiteX4" fmla="*/ 1205061 w 1342943"/>
                  <a:gd name="connsiteY4" fmla="*/ 39167 h 5283193"/>
                  <a:gd name="connsiteX5" fmla="*/ 1254957 w 1342943"/>
                  <a:gd name="connsiteY5" fmla="*/ 21367 h 5283193"/>
                  <a:gd name="connsiteX6" fmla="*/ 1342943 w 1342943"/>
                  <a:gd name="connsiteY6" fmla="*/ 0 h 5283193"/>
                  <a:gd name="connsiteX7" fmla="*/ 1341690 w 1342943"/>
                  <a:gd name="connsiteY7" fmla="*/ 289741 h 5283193"/>
                  <a:gd name="connsiteX8" fmla="*/ 1134055 w 1342943"/>
                  <a:gd name="connsiteY8" fmla="*/ 2701669 h 5283193"/>
                  <a:gd name="connsiteX9" fmla="*/ 650486 w 1342943"/>
                  <a:gd name="connsiteY9" fmla="*/ 4979190 h 5283193"/>
                  <a:gd name="connsiteX10" fmla="*/ 583417 w 1342943"/>
                  <a:gd name="connsiteY10" fmla="*/ 5194260 h 5283193"/>
                  <a:gd name="connsiteX11" fmla="*/ 475225 w 1342943"/>
                  <a:gd name="connsiteY11" fmla="*/ 5206040 h 5283193"/>
                  <a:gd name="connsiteX12" fmla="*/ 139610 w 1342943"/>
                  <a:gd name="connsiteY12" fmla="*/ 5255665 h 5283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42943" h="5283193">
                    <a:moveTo>
                      <a:pt x="0" y="5283193"/>
                    </a:moveTo>
                    <a:lnTo>
                      <a:pt x="24939" y="5236257"/>
                    </a:lnTo>
                    <a:cubicBezTo>
                      <a:pt x="354655" y="4577982"/>
                      <a:pt x="661995" y="3697275"/>
                      <a:pt x="886190" y="2701666"/>
                    </a:cubicBezTo>
                    <a:cubicBezTo>
                      <a:pt x="1082361" y="1830509"/>
                      <a:pt x="1186437" y="997664"/>
                      <a:pt x="1203405" y="289738"/>
                    </a:cubicBezTo>
                    <a:lnTo>
                      <a:pt x="1205061" y="39167"/>
                    </a:lnTo>
                    <a:lnTo>
                      <a:pt x="1254957" y="21367"/>
                    </a:lnTo>
                    <a:lnTo>
                      <a:pt x="1342943" y="0"/>
                    </a:lnTo>
                    <a:lnTo>
                      <a:pt x="1341690" y="289741"/>
                    </a:lnTo>
                    <a:cubicBezTo>
                      <a:pt x="1330583" y="997667"/>
                      <a:pt x="1262460" y="1830512"/>
                      <a:pt x="1134055" y="2701669"/>
                    </a:cubicBezTo>
                    <a:cubicBezTo>
                      <a:pt x="1005651" y="3572827"/>
                      <a:pt x="835579" y="4356013"/>
                      <a:pt x="650486" y="4979190"/>
                    </a:cubicBezTo>
                    <a:lnTo>
                      <a:pt x="583417" y="5194260"/>
                    </a:lnTo>
                    <a:lnTo>
                      <a:pt x="475225" y="5206040"/>
                    </a:lnTo>
                    <a:cubicBezTo>
                      <a:pt x="354582" y="5220646"/>
                      <a:pt x="242203" y="5237279"/>
                      <a:pt x="139610" y="5255665"/>
                    </a:cubicBezTo>
                    <a:close/>
                  </a:path>
                </a:pathLst>
              </a:custGeom>
              <a:solidFill>
                <a:schemeClr val="bg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Freeform 16"/>
            <p:cNvSpPr/>
            <p:nvPr/>
          </p:nvSpPr>
          <p:spPr>
            <a:xfrm>
              <a:off x="2028420" y="2506909"/>
              <a:ext cx="1895982" cy="527615"/>
            </a:xfrm>
            <a:custGeom>
              <a:avLst/>
              <a:gdLst>
                <a:gd name="connsiteX0" fmla="*/ 0 w 2709569"/>
                <a:gd name="connsiteY0" fmla="*/ 0 h 1325880"/>
                <a:gd name="connsiteX1" fmla="*/ 2117730 w 2709569"/>
                <a:gd name="connsiteY1" fmla="*/ 0 h 1325880"/>
                <a:gd name="connsiteX2" fmla="*/ 2708578 w 2709569"/>
                <a:gd name="connsiteY2" fmla="*/ 661636 h 1325880"/>
                <a:gd name="connsiteX3" fmla="*/ 2709569 w 2709569"/>
                <a:gd name="connsiteY3" fmla="*/ 663135 h 1325880"/>
                <a:gd name="connsiteX4" fmla="*/ 2117730 w 2709569"/>
                <a:gd name="connsiteY4" fmla="*/ 1325880 h 1325880"/>
                <a:gd name="connsiteX5" fmla="*/ 10 w 2709569"/>
                <a:gd name="connsiteY5" fmla="*/ 1325880 h 1325880"/>
                <a:gd name="connsiteX6" fmla="*/ 10 w 2709569"/>
                <a:gd name="connsiteY6" fmla="*/ 994295 h 1325880"/>
                <a:gd name="connsiteX7" fmla="*/ 0 w 2709569"/>
                <a:gd name="connsiteY7" fmla="*/ 994295 h 132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09569" h="1325880">
                  <a:moveTo>
                    <a:pt x="0" y="0"/>
                  </a:moveTo>
                  <a:lnTo>
                    <a:pt x="2117730" y="0"/>
                  </a:lnTo>
                  <a:lnTo>
                    <a:pt x="2708578" y="661636"/>
                  </a:lnTo>
                  <a:lnTo>
                    <a:pt x="2709569" y="663135"/>
                  </a:lnTo>
                  <a:lnTo>
                    <a:pt x="2117730" y="1325880"/>
                  </a:lnTo>
                  <a:lnTo>
                    <a:pt x="10" y="1325880"/>
                  </a:lnTo>
                  <a:lnTo>
                    <a:pt x="10" y="994295"/>
                  </a:lnTo>
                  <a:lnTo>
                    <a:pt x="0" y="99429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a:r>
                <a:rPr lang="en-US" sz="1050" dirty="0">
                  <a:solidFill>
                    <a:prstClr val="white"/>
                  </a:solidFill>
                  <a:effectLst>
                    <a:outerShdw blurRad="38100" dist="38100" dir="2700000" algn="tl">
                      <a:srgbClr val="000000">
                        <a:alpha val="43137"/>
                      </a:srgbClr>
                    </a:outerShdw>
                  </a:effectLst>
                </a:rPr>
                <a:t>Joins, Windowing, Aggregations, …</a:t>
              </a:r>
            </a:p>
          </p:txBody>
        </p:sp>
        <p:sp>
          <p:nvSpPr>
            <p:cNvPr id="18" name="Freeform 17"/>
            <p:cNvSpPr/>
            <p:nvPr/>
          </p:nvSpPr>
          <p:spPr>
            <a:xfrm>
              <a:off x="2040505" y="3076199"/>
              <a:ext cx="2259847" cy="493689"/>
            </a:xfrm>
            <a:custGeom>
              <a:avLst/>
              <a:gdLst>
                <a:gd name="connsiteX0" fmla="*/ 0 w 3238689"/>
                <a:gd name="connsiteY0" fmla="*/ 662940 h 1325880"/>
                <a:gd name="connsiteX1" fmla="*/ 3238689 w 3238689"/>
                <a:gd name="connsiteY1" fmla="*/ 662940 h 1325880"/>
                <a:gd name="connsiteX2" fmla="*/ 2646676 w 3238689"/>
                <a:gd name="connsiteY2" fmla="*/ 1325880 h 1325880"/>
                <a:gd name="connsiteX3" fmla="*/ 0 w 3238689"/>
                <a:gd name="connsiteY3" fmla="*/ 1325880 h 1325880"/>
                <a:gd name="connsiteX4" fmla="*/ 5 w 3238689"/>
                <a:gd name="connsiteY4" fmla="*/ 0 h 1325880"/>
                <a:gd name="connsiteX5" fmla="*/ 2646676 w 3238689"/>
                <a:gd name="connsiteY5" fmla="*/ 0 h 1325880"/>
                <a:gd name="connsiteX6" fmla="*/ 3238688 w 3238689"/>
                <a:gd name="connsiteY6" fmla="*/ 662939 h 1325880"/>
                <a:gd name="connsiteX7" fmla="*/ 5 w 3238689"/>
                <a:gd name="connsiteY7" fmla="*/ 662939 h 132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8689" h="1325880">
                  <a:moveTo>
                    <a:pt x="0" y="662940"/>
                  </a:moveTo>
                  <a:lnTo>
                    <a:pt x="3238689" y="662940"/>
                  </a:lnTo>
                  <a:lnTo>
                    <a:pt x="2646676" y="1325880"/>
                  </a:lnTo>
                  <a:lnTo>
                    <a:pt x="0" y="1325880"/>
                  </a:lnTo>
                  <a:close/>
                  <a:moveTo>
                    <a:pt x="5" y="0"/>
                  </a:moveTo>
                  <a:lnTo>
                    <a:pt x="2646676" y="0"/>
                  </a:lnTo>
                  <a:lnTo>
                    <a:pt x="3238688" y="662939"/>
                  </a:lnTo>
                  <a:lnTo>
                    <a:pt x="5" y="662939"/>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a:r>
                <a:rPr lang="en-US" sz="1200" dirty="0">
                  <a:solidFill>
                    <a:prstClr val="white"/>
                  </a:solidFill>
                  <a:effectLst>
                    <a:outerShdw blurRad="38100" dist="38100" dir="2700000" algn="tl">
                      <a:srgbClr val="000000">
                        <a:alpha val="43137"/>
                      </a:srgbClr>
                    </a:outerShdw>
                  </a:effectLst>
                </a:rPr>
                <a:t>Materialize</a:t>
              </a:r>
              <a:endParaRPr lang="en-US" sz="2000" dirty="0">
                <a:solidFill>
                  <a:prstClr val="white"/>
                </a:solidFill>
                <a:effectLst>
                  <a:outerShdw blurRad="38100" dist="38100" dir="2700000" algn="tl">
                    <a:srgbClr val="000000">
                      <a:alpha val="43137"/>
                    </a:srgbClr>
                  </a:outerShdw>
                </a:effectLst>
              </a:endParaRPr>
            </a:p>
          </p:txBody>
        </p:sp>
        <p:sp>
          <p:nvSpPr>
            <p:cNvPr id="19" name="Freeform 18"/>
            <p:cNvSpPr/>
            <p:nvPr/>
          </p:nvSpPr>
          <p:spPr>
            <a:xfrm>
              <a:off x="2028420" y="3611563"/>
              <a:ext cx="2529524" cy="493106"/>
            </a:xfrm>
            <a:custGeom>
              <a:avLst/>
              <a:gdLst>
                <a:gd name="connsiteX0" fmla="*/ 0 w 3767640"/>
                <a:gd name="connsiteY0" fmla="*/ 331585 h 1325880"/>
                <a:gd name="connsiteX1" fmla="*/ 3471736 w 3767640"/>
                <a:gd name="connsiteY1" fmla="*/ 331585 h 1325880"/>
                <a:gd name="connsiteX2" fmla="*/ 3767640 w 3767640"/>
                <a:gd name="connsiteY2" fmla="*/ 662940 h 1325880"/>
                <a:gd name="connsiteX3" fmla="*/ 3175627 w 3767640"/>
                <a:gd name="connsiteY3" fmla="*/ 1325880 h 1325880"/>
                <a:gd name="connsiteX4" fmla="*/ 0 w 3767640"/>
                <a:gd name="connsiteY4" fmla="*/ 1325880 h 1325880"/>
                <a:gd name="connsiteX5" fmla="*/ 0 w 3767640"/>
                <a:gd name="connsiteY5" fmla="*/ 0 h 1325880"/>
                <a:gd name="connsiteX6" fmla="*/ 3175627 w 3767640"/>
                <a:gd name="connsiteY6" fmla="*/ 0 h 1325880"/>
                <a:gd name="connsiteX7" fmla="*/ 3471736 w 3767640"/>
                <a:gd name="connsiteY7" fmla="*/ 331584 h 1325880"/>
                <a:gd name="connsiteX8" fmla="*/ 0 w 3767640"/>
                <a:gd name="connsiteY8" fmla="*/ 331584 h 132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67640" h="1325880">
                  <a:moveTo>
                    <a:pt x="0" y="331585"/>
                  </a:moveTo>
                  <a:lnTo>
                    <a:pt x="3471736" y="331585"/>
                  </a:lnTo>
                  <a:lnTo>
                    <a:pt x="3767640" y="662940"/>
                  </a:lnTo>
                  <a:lnTo>
                    <a:pt x="3175627" y="1325880"/>
                  </a:lnTo>
                  <a:lnTo>
                    <a:pt x="0" y="1325880"/>
                  </a:lnTo>
                  <a:close/>
                  <a:moveTo>
                    <a:pt x="0" y="0"/>
                  </a:moveTo>
                  <a:lnTo>
                    <a:pt x="3175627" y="0"/>
                  </a:lnTo>
                  <a:lnTo>
                    <a:pt x="3471736" y="331584"/>
                  </a:lnTo>
                  <a:lnTo>
                    <a:pt x="0" y="331584"/>
                  </a:lnTo>
                  <a:close/>
                </a:path>
              </a:pathLst>
            </a:custGeom>
            <a:solidFill>
              <a:srgbClr val="0499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a:r>
                <a:rPr lang="en-US" sz="1200" dirty="0">
                  <a:solidFill>
                    <a:prstClr val="white"/>
                  </a:solidFill>
                  <a:effectLst>
                    <a:outerShdw blurRad="38100" dist="38100" dir="2700000" algn="tl">
                      <a:srgbClr val="000000">
                        <a:alpha val="43137"/>
                      </a:srgbClr>
                    </a:outerShdw>
                  </a:effectLst>
                </a:rPr>
                <a:t>Publish results</a:t>
              </a:r>
            </a:p>
          </p:txBody>
        </p:sp>
      </p:grpSp>
      <p:sp>
        <p:nvSpPr>
          <p:cNvPr id="26" name="Rectangle 25"/>
          <p:cNvSpPr/>
          <p:nvPr/>
        </p:nvSpPr>
        <p:spPr>
          <a:xfrm>
            <a:off x="579210" y="1105441"/>
            <a:ext cx="7272293" cy="461665"/>
          </a:xfrm>
          <a:prstGeom prst="rect">
            <a:avLst/>
          </a:prstGeom>
        </p:spPr>
        <p:txBody>
          <a:bodyPr wrap="square">
            <a:spAutoFit/>
          </a:bodyPr>
          <a:lstStyle/>
          <a:p>
            <a:r>
              <a:rPr lang="en-GB" sz="1200" dirty="0"/>
              <a:t>A </a:t>
            </a:r>
            <a:r>
              <a:rPr lang="en-GB" sz="1200" b="1" dirty="0">
                <a:solidFill>
                  <a:schemeClr val="accent4"/>
                </a:solidFill>
              </a:rPr>
              <a:t>stream partition</a:t>
            </a:r>
            <a:r>
              <a:rPr lang="en-GB" sz="1200" dirty="0"/>
              <a:t> is an, ordered, replayable, and fault-tolerant sequence of immutable data records, where a data record is defined as a key-value pair.</a:t>
            </a:r>
            <a:endParaRPr lang="en-GB" sz="1200" dirty="0">
              <a:solidFill>
                <a:srgbClr val="4A4A4A"/>
              </a:solidFill>
            </a:endParaRPr>
          </a:p>
        </p:txBody>
      </p:sp>
      <p:sp>
        <p:nvSpPr>
          <p:cNvPr id="27" name="Rectangle 26"/>
          <p:cNvSpPr/>
          <p:nvPr/>
        </p:nvSpPr>
        <p:spPr>
          <a:xfrm>
            <a:off x="647827" y="1624377"/>
            <a:ext cx="3647650" cy="2354491"/>
          </a:xfrm>
          <a:prstGeom prst="rect">
            <a:avLst/>
          </a:prstGeom>
        </p:spPr>
        <p:txBody>
          <a:bodyPr wrap="square">
            <a:spAutoFit/>
          </a:bodyPr>
          <a:lstStyle/>
          <a:p>
            <a:pPr marL="171450" indent="-171450">
              <a:buFont typeface="Arial" panose="020B0604020202020204" pitchFamily="34" charset="0"/>
              <a:buChar char="•"/>
            </a:pPr>
            <a:r>
              <a:rPr lang="en-GB" sz="1200" dirty="0"/>
              <a:t>Event-time processing with windowing, joins, aggregations,… </a:t>
            </a:r>
          </a:p>
          <a:p>
            <a:pPr marL="171450" indent="-171450">
              <a:buFont typeface="Arial" panose="020B0604020202020204" pitchFamily="34" charset="0"/>
              <a:buChar char="•"/>
            </a:pPr>
            <a:r>
              <a:rPr lang="en-GB" sz="1200" dirty="0"/>
              <a:t>Supports exactly-once processing semantics</a:t>
            </a:r>
          </a:p>
          <a:p>
            <a:pPr marL="171450" indent="-171450">
              <a:buFont typeface="Arial" panose="020B0604020202020204" pitchFamily="34" charset="0"/>
              <a:buChar char="•"/>
            </a:pPr>
            <a:r>
              <a:rPr lang="en-GB" sz="1200" dirty="0"/>
              <a:t>Stateful and stateless processing</a:t>
            </a:r>
          </a:p>
          <a:p>
            <a:endParaRPr lang="en-GB" sz="1200" dirty="0"/>
          </a:p>
          <a:p>
            <a:pPr marL="171450" indent="-171450">
              <a:buFont typeface="Arial" panose="020B0604020202020204" pitchFamily="34" charset="0"/>
              <a:buChar char="•"/>
            </a:pPr>
            <a:r>
              <a:rPr lang="en-GB" sz="1200" b="1" dirty="0"/>
              <a:t>Kafka Streams DSL</a:t>
            </a:r>
          </a:p>
          <a:p>
            <a:r>
              <a:rPr lang="en-GB" sz="1000" dirty="0"/>
              <a:t>A high-level API that provides the most common data transformation operations such as map, filter, join, and aggregations out of the box</a:t>
            </a:r>
          </a:p>
          <a:p>
            <a:endParaRPr lang="en-GB" sz="1200" dirty="0"/>
          </a:p>
          <a:p>
            <a:pPr marL="171450" indent="-171450">
              <a:buFont typeface="Arial" panose="020B0604020202020204" pitchFamily="34" charset="0"/>
              <a:buChar char="•"/>
            </a:pPr>
            <a:r>
              <a:rPr lang="en-GB" sz="1200" b="1" dirty="0"/>
              <a:t>Processor API</a:t>
            </a:r>
          </a:p>
          <a:p>
            <a:r>
              <a:rPr lang="en-GB" sz="1050" dirty="0"/>
              <a:t>A low-level API that lets you add and connect processors as well as interact directly with state stores</a:t>
            </a:r>
          </a:p>
        </p:txBody>
      </p:sp>
      <p:pic>
        <p:nvPicPr>
          <p:cNvPr id="28" name="Picture 2" descr="EDEM Escuela de Empresarios, Fundación de la Comunidad Valenciana -  Asociación Valenciana de Fundaciones de la CV">
            <a:extLst>
              <a:ext uri="{FF2B5EF4-FFF2-40B4-BE49-F238E27FC236}">
                <a16:creationId xmlns:a16="http://schemas.microsoft.com/office/drawing/2014/main" id="{158B453E-734D-4ADC-B6A2-E9F8CD221E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55900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reams Duality</a:t>
            </a:r>
          </a:p>
        </p:txBody>
      </p:sp>
      <p:sp>
        <p:nvSpPr>
          <p:cNvPr id="3" name="Date Placeholder 2"/>
          <p:cNvSpPr>
            <a:spLocks noGrp="1"/>
          </p:cNvSpPr>
          <p:nvPr>
            <p:ph type="dt" sz="half" idx="2"/>
          </p:nvPr>
        </p:nvSpPr>
        <p:spPr/>
        <p:txBody>
          <a:bodyPr/>
          <a:lstStyle/>
          <a:p>
            <a:pPr defTabSz="685800"/>
            <a:fld id="{C0C9140A-8AD1-4D8E-9F46-B47E3C53E85F}" type="datetime1">
              <a:rPr lang="en-GB" smtClean="0"/>
              <a:t>02/12/2021</a:t>
            </a:fld>
            <a:endParaRPr lang="en-GB" dirty="0"/>
          </a:p>
        </p:txBody>
      </p:sp>
      <p:sp>
        <p:nvSpPr>
          <p:cNvPr id="4" name="Text Placeholder 3"/>
          <p:cNvSpPr>
            <a:spLocks noGrp="1"/>
          </p:cNvSpPr>
          <p:nvPr>
            <p:ph type="body" sz="quarter" idx="10"/>
          </p:nvPr>
        </p:nvSpPr>
        <p:spPr>
          <a:xfrm>
            <a:off x="978102" y="1263728"/>
            <a:ext cx="7191375" cy="464743"/>
          </a:xfrm>
        </p:spPr>
        <p:txBody>
          <a:bodyPr/>
          <a:lstStyle/>
          <a:p>
            <a:r>
              <a:rPr lang="en-US" dirty="0"/>
              <a:t>Stream as Tables</a:t>
            </a:r>
          </a:p>
          <a:p>
            <a:r>
              <a:rPr lang="en-US" dirty="0"/>
              <a:t>Tables as Streams</a:t>
            </a:r>
          </a:p>
        </p:txBody>
      </p:sp>
      <p:sp>
        <p:nvSpPr>
          <p:cNvPr id="5" name="Text Placeholder 4"/>
          <p:cNvSpPr>
            <a:spLocks noGrp="1"/>
          </p:cNvSpPr>
          <p:nvPr>
            <p:ph type="body" sz="quarter" idx="12"/>
          </p:nvPr>
        </p:nvSpPr>
        <p:spPr/>
        <p:txBody>
          <a:bodyPr/>
          <a:lstStyle/>
          <a:p>
            <a:endParaRPr lang="en-US"/>
          </a:p>
        </p:txBody>
      </p:sp>
      <p:sp>
        <p:nvSpPr>
          <p:cNvPr id="6" name="Footer Placeholder 5"/>
          <p:cNvSpPr>
            <a:spLocks noGrp="1"/>
          </p:cNvSpPr>
          <p:nvPr>
            <p:ph type="ftr" sz="quarter" idx="13"/>
          </p:nvPr>
        </p:nvSpPr>
        <p:spPr/>
        <p:txBody>
          <a:bodyPr/>
          <a:lstStyle/>
          <a:p>
            <a:r>
              <a:rPr lang="en-US"/>
              <a:t>Type here if  add info needed  for every slide</a:t>
            </a:r>
            <a:endParaRPr lang="en-US" dirty="0"/>
          </a:p>
        </p:txBody>
      </p:sp>
      <p:pic>
        <p:nvPicPr>
          <p:cNvPr id="7" name="Picture 6"/>
          <p:cNvPicPr>
            <a:picLocks noChangeAspect="1"/>
          </p:cNvPicPr>
          <p:nvPr/>
        </p:nvPicPr>
        <p:blipFill>
          <a:blip r:embed="rId2">
            <a:extLst>
              <a:ext uri="{BEBA8EAE-BF5A-486C-A8C5-ECC9F3942E4B}">
                <a14:imgProps xmlns:a14="http://schemas.microsoft.com/office/drawing/2010/main">
                  <a14:imgLayer r:embed="rId3">
                    <a14:imgEffect>
                      <a14:brightnessContrast bright="-20000" contrast="40000"/>
                    </a14:imgEffect>
                  </a14:imgLayer>
                </a14:imgProps>
              </a:ext>
            </a:extLst>
          </a:blip>
          <a:stretch>
            <a:fillRect/>
          </a:stretch>
        </p:blipFill>
        <p:spPr>
          <a:xfrm>
            <a:off x="4847772" y="1573213"/>
            <a:ext cx="3321504" cy="2973644"/>
          </a:xfrm>
          <a:prstGeom prst="rect">
            <a:avLst/>
          </a:prstGeom>
        </p:spPr>
      </p:pic>
      <p:pic>
        <p:nvPicPr>
          <p:cNvPr id="8" name="Picture 7"/>
          <p:cNvPicPr>
            <a:picLocks noChangeAspect="1"/>
          </p:cNvPicPr>
          <p:nvPr/>
        </p:nvPicPr>
        <p:blipFill>
          <a:blip r:embed="rId4">
            <a:extLst>
              <a:ext uri="{BEBA8EAE-BF5A-486C-A8C5-ECC9F3942E4B}">
                <a14:imgProps xmlns:a14="http://schemas.microsoft.com/office/drawing/2010/main">
                  <a14:imgLayer r:embed="rId5">
                    <a14:imgEffect>
                      <a14:brightnessContrast bright="-20000" contrast="40000"/>
                    </a14:imgEffect>
                  </a14:imgLayer>
                </a14:imgProps>
              </a:ext>
            </a:extLst>
          </a:blip>
          <a:stretch>
            <a:fillRect/>
          </a:stretch>
        </p:blipFill>
        <p:spPr>
          <a:xfrm>
            <a:off x="713614" y="2255029"/>
            <a:ext cx="3732147" cy="1610011"/>
          </a:xfrm>
          <a:prstGeom prst="rect">
            <a:avLst/>
          </a:prstGeom>
        </p:spPr>
      </p:pic>
      <p:pic>
        <p:nvPicPr>
          <p:cNvPr id="9" name="Picture 2" descr="EDEM Escuela de Empresarios, Fundación de la Comunidad Valenciana -  Asociación Valenciana de Fundaciones de la CV">
            <a:extLst>
              <a:ext uri="{FF2B5EF4-FFF2-40B4-BE49-F238E27FC236}">
                <a16:creationId xmlns:a16="http://schemas.microsoft.com/office/drawing/2014/main" id="{098D000A-910B-457F-A297-0172994F318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85091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1783080" y="1336142"/>
            <a:ext cx="6386194" cy="2729978"/>
          </a:xfrm>
        </p:spPr>
        <p:txBody>
          <a:bodyPr/>
          <a:lstStyle/>
          <a:p>
            <a:r>
              <a:rPr lang="en-US" dirty="0"/>
              <a:t>Apache Kafka</a:t>
            </a:r>
          </a:p>
          <a:p>
            <a:pPr lvl="1"/>
            <a:r>
              <a:rPr lang="en-US" dirty="0"/>
              <a:t>Architecture</a:t>
            </a:r>
          </a:p>
          <a:p>
            <a:pPr lvl="1"/>
            <a:r>
              <a:rPr lang="en-US" dirty="0"/>
              <a:t>Producers</a:t>
            </a:r>
          </a:p>
          <a:p>
            <a:pPr lvl="1"/>
            <a:r>
              <a:rPr lang="en-US" dirty="0"/>
              <a:t>Consumers</a:t>
            </a:r>
          </a:p>
          <a:p>
            <a:r>
              <a:rPr lang="en-US" dirty="0"/>
              <a:t>Kafka Streams</a:t>
            </a:r>
          </a:p>
          <a:p>
            <a:r>
              <a:rPr lang="en-US" dirty="0"/>
              <a:t>KSQL</a:t>
            </a:r>
          </a:p>
          <a:p>
            <a:r>
              <a:rPr lang="en-US" dirty="0"/>
              <a:t>Schema registry</a:t>
            </a:r>
          </a:p>
          <a:p>
            <a:r>
              <a:rPr lang="en-US" dirty="0"/>
              <a:t>Kafka Connect</a:t>
            </a:r>
          </a:p>
        </p:txBody>
      </p:sp>
      <p:sp>
        <p:nvSpPr>
          <p:cNvPr id="2" name="Text Placeholder 1">
            <a:extLst>
              <a:ext uri="{FF2B5EF4-FFF2-40B4-BE49-F238E27FC236}">
                <a16:creationId xmlns:a16="http://schemas.microsoft.com/office/drawing/2014/main" id="{71FB9EFE-69DC-4FF4-927E-A75A7F6A21BA}"/>
              </a:ext>
            </a:extLst>
          </p:cNvPr>
          <p:cNvSpPr>
            <a:spLocks noGrp="1"/>
          </p:cNvSpPr>
          <p:nvPr>
            <p:ph type="body" sz="quarter" idx="12"/>
          </p:nvPr>
        </p:nvSpPr>
        <p:spPr/>
        <p:txBody>
          <a:bodyPr/>
          <a:lstStyle/>
          <a:p>
            <a:endParaRPr lang="es-ES"/>
          </a:p>
        </p:txBody>
      </p:sp>
      <p:pic>
        <p:nvPicPr>
          <p:cNvPr id="7" name="Picture 2" descr="EDEM Escuela de Empresarios, Fundación de la Comunidad Valenciana -  Asociación Valenciana de Fundaciones de la CV">
            <a:extLst>
              <a:ext uri="{FF2B5EF4-FFF2-40B4-BE49-F238E27FC236}">
                <a16:creationId xmlns:a16="http://schemas.microsoft.com/office/drawing/2014/main" id="{6A741F43-FD19-43B0-80F6-8E289A62731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43341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07533F-A17F-4494-A9E1-DC0CB2AFCC6F}"/>
              </a:ext>
            </a:extLst>
          </p:cNvPr>
          <p:cNvSpPr>
            <a:spLocks noGrp="1"/>
          </p:cNvSpPr>
          <p:nvPr>
            <p:ph type="title"/>
          </p:nvPr>
        </p:nvSpPr>
        <p:spPr/>
        <p:txBody>
          <a:bodyPr/>
          <a:lstStyle/>
          <a:p>
            <a:r>
              <a:rPr lang="en-US" dirty="0"/>
              <a:t>State management</a:t>
            </a:r>
          </a:p>
        </p:txBody>
      </p:sp>
      <p:sp>
        <p:nvSpPr>
          <p:cNvPr id="3" name="Date Placeholder 2">
            <a:extLst>
              <a:ext uri="{FF2B5EF4-FFF2-40B4-BE49-F238E27FC236}">
                <a16:creationId xmlns:a16="http://schemas.microsoft.com/office/drawing/2014/main" id="{6314825D-DB3B-42FF-B4CB-383FF981768B}"/>
              </a:ext>
            </a:extLst>
          </p:cNvPr>
          <p:cNvSpPr>
            <a:spLocks noGrp="1"/>
          </p:cNvSpPr>
          <p:nvPr>
            <p:ph type="dt" sz="half" idx="2"/>
          </p:nvPr>
        </p:nvSpPr>
        <p:spPr/>
        <p:txBody>
          <a:bodyPr/>
          <a:lstStyle/>
          <a:p>
            <a:pPr defTabSz="685800"/>
            <a:fld id="{C0C9140A-8AD1-4D8E-9F46-B47E3C53E85F}" type="datetime1">
              <a:rPr lang="en-GB" smtClean="0"/>
              <a:t>02/12/2021</a:t>
            </a:fld>
            <a:endParaRPr lang="en-GB" dirty="0"/>
          </a:p>
        </p:txBody>
      </p:sp>
      <p:sp>
        <p:nvSpPr>
          <p:cNvPr id="5" name="Text Placeholder 4">
            <a:extLst>
              <a:ext uri="{FF2B5EF4-FFF2-40B4-BE49-F238E27FC236}">
                <a16:creationId xmlns:a16="http://schemas.microsoft.com/office/drawing/2014/main" id="{83E3FDC6-C111-4A1D-95B2-A93644FC7613}"/>
              </a:ext>
            </a:extLst>
          </p:cNvPr>
          <p:cNvSpPr>
            <a:spLocks noGrp="1"/>
          </p:cNvSpPr>
          <p:nvPr>
            <p:ph type="body" sz="quarter" idx="12"/>
          </p:nvPr>
        </p:nvSpPr>
        <p:spPr/>
        <p:txBody>
          <a:bodyPr/>
          <a:lstStyle/>
          <a:p>
            <a:endParaRPr lang="en-US"/>
          </a:p>
        </p:txBody>
      </p:sp>
      <p:sp>
        <p:nvSpPr>
          <p:cNvPr id="6" name="Footer Placeholder 5">
            <a:extLst>
              <a:ext uri="{FF2B5EF4-FFF2-40B4-BE49-F238E27FC236}">
                <a16:creationId xmlns:a16="http://schemas.microsoft.com/office/drawing/2014/main" id="{3F2AC6D4-FD8E-44E9-B58F-BD0B5E6B67FD}"/>
              </a:ext>
            </a:extLst>
          </p:cNvPr>
          <p:cNvSpPr>
            <a:spLocks noGrp="1"/>
          </p:cNvSpPr>
          <p:nvPr>
            <p:ph type="ftr" sz="quarter" idx="13"/>
          </p:nvPr>
        </p:nvSpPr>
        <p:spPr/>
        <p:txBody>
          <a:bodyPr/>
          <a:lstStyle/>
          <a:p>
            <a:r>
              <a:rPr lang="en-US"/>
              <a:t>Type here if  add info needed  for every slide</a:t>
            </a:r>
            <a:endParaRPr lang="en-US" dirty="0"/>
          </a:p>
        </p:txBody>
      </p:sp>
      <p:sp>
        <p:nvSpPr>
          <p:cNvPr id="7" name="Rectangle 6">
            <a:extLst>
              <a:ext uri="{FF2B5EF4-FFF2-40B4-BE49-F238E27FC236}">
                <a16:creationId xmlns:a16="http://schemas.microsoft.com/office/drawing/2014/main" id="{B13DED14-F526-4C66-A41D-FCCDB9C34028}"/>
              </a:ext>
            </a:extLst>
          </p:cNvPr>
          <p:cNvSpPr/>
          <p:nvPr/>
        </p:nvSpPr>
        <p:spPr>
          <a:xfrm>
            <a:off x="871016" y="1201840"/>
            <a:ext cx="6697814" cy="2893100"/>
          </a:xfrm>
          <a:prstGeom prst="rect">
            <a:avLst/>
          </a:prstGeom>
        </p:spPr>
        <p:txBody>
          <a:bodyPr wrap="square">
            <a:spAutoFit/>
          </a:bodyPr>
          <a:lstStyle/>
          <a:p>
            <a:r>
              <a:rPr lang="en-GB" sz="1400" b="1" dirty="0">
                <a:solidFill>
                  <a:schemeClr val="accent1"/>
                </a:solidFill>
              </a:rPr>
              <a:t>Single-Event Processing</a:t>
            </a:r>
            <a:r>
              <a:rPr lang="en-GB" sz="1400" dirty="0">
                <a:solidFill>
                  <a:schemeClr val="accent1"/>
                </a:solidFill>
              </a:rPr>
              <a:t> </a:t>
            </a:r>
            <a:r>
              <a:rPr lang="en-GB" sz="1400" dirty="0"/>
              <a:t>– does not require state</a:t>
            </a:r>
          </a:p>
          <a:p>
            <a:pPr lvl="1"/>
            <a:r>
              <a:rPr lang="en-GB" sz="1400" dirty="0"/>
              <a:t>Which means the processing of a message is independent from the processing of all other messages</a:t>
            </a:r>
          </a:p>
          <a:p>
            <a:r>
              <a:rPr lang="en-GB" sz="1400" b="1" dirty="0">
                <a:solidFill>
                  <a:schemeClr val="accent1"/>
                </a:solidFill>
              </a:rPr>
              <a:t>Processing with Local State</a:t>
            </a:r>
          </a:p>
          <a:p>
            <a:pPr lvl="1"/>
            <a:r>
              <a:rPr lang="en-GB" sz="1400" dirty="0"/>
              <a:t>Most stream-processing applications are concerned with aggregating information, especially time-window aggregation </a:t>
            </a:r>
            <a:r>
              <a:rPr lang="en-GB" sz="1400" dirty="0">
                <a:sym typeface="Wingdings" panose="05000000000000000000" pitchFamily="2" charset="2"/>
              </a:rPr>
              <a:t> </a:t>
            </a:r>
            <a:r>
              <a:rPr lang="en-GB" sz="1400" b="1" dirty="0">
                <a:solidFill>
                  <a:srgbClr val="5082BE"/>
                </a:solidFill>
                <a:sym typeface="Wingdings" panose="05000000000000000000" pitchFamily="2" charset="2"/>
              </a:rPr>
              <a:t>KTable</a:t>
            </a:r>
            <a:endParaRPr lang="en-GB" sz="1400" b="1" dirty="0">
              <a:solidFill>
                <a:srgbClr val="5082BE"/>
              </a:solidFill>
            </a:endParaRPr>
          </a:p>
          <a:p>
            <a:pPr lvl="1"/>
            <a:r>
              <a:rPr lang="en-US" sz="1400" dirty="0"/>
              <a:t>Internally Kafka Streams provides a fault-tolerant state store using both:</a:t>
            </a:r>
          </a:p>
          <a:p>
            <a:pPr marL="1200150" lvl="2" indent="-285750">
              <a:buFont typeface="Arial" panose="020B0604020202020204" pitchFamily="34" charset="0"/>
              <a:buChar char="•"/>
            </a:pPr>
            <a:r>
              <a:rPr lang="en-US" sz="1400" dirty="0"/>
              <a:t>an internally created and </a:t>
            </a:r>
            <a:r>
              <a:rPr lang="en-US" sz="1400" dirty="0">
                <a:solidFill>
                  <a:srgbClr val="5082BE"/>
                </a:solidFill>
              </a:rPr>
              <a:t>compacted changelog topic</a:t>
            </a:r>
            <a:endParaRPr lang="en-US" sz="1400" dirty="0"/>
          </a:p>
          <a:p>
            <a:pPr marL="1200150" lvl="2" indent="-285750">
              <a:buFont typeface="Arial" panose="020B0604020202020204" pitchFamily="34" charset="0"/>
              <a:buChar char="•"/>
            </a:pPr>
            <a:r>
              <a:rPr lang="en-US" sz="1400" dirty="0"/>
              <a:t>an </a:t>
            </a:r>
            <a:r>
              <a:rPr lang="en-US" sz="1400" dirty="0">
                <a:solidFill>
                  <a:srgbClr val="5082BE"/>
                </a:solidFill>
              </a:rPr>
              <a:t>embedded RocksDB </a:t>
            </a:r>
            <a:r>
              <a:rPr lang="en-US" sz="1400" dirty="0"/>
              <a:t>instance</a:t>
            </a:r>
            <a:endParaRPr lang="es-ES" sz="1400" dirty="0"/>
          </a:p>
          <a:p>
            <a:pPr marL="285750" indent="-285750">
              <a:buFont typeface="Arial" panose="020B0604020202020204" pitchFamily="34" charset="0"/>
              <a:buChar char="•"/>
            </a:pPr>
            <a:r>
              <a:rPr lang="en-GB" sz="1400" b="1" dirty="0">
                <a:solidFill>
                  <a:schemeClr val="accent1"/>
                </a:solidFill>
              </a:rPr>
              <a:t>Multiphase Processing</a:t>
            </a:r>
          </a:p>
          <a:p>
            <a:pPr lvl="1"/>
            <a:r>
              <a:rPr lang="en-GB" sz="1400" dirty="0"/>
              <a:t>Two-phase approach</a:t>
            </a:r>
          </a:p>
          <a:p>
            <a:pPr lvl="2"/>
            <a:r>
              <a:rPr lang="en-GB" sz="1400" dirty="0"/>
              <a:t>Write intermediate results to a new topic with a single partition</a:t>
            </a:r>
          </a:p>
          <a:p>
            <a:pPr lvl="2"/>
            <a:r>
              <a:rPr lang="en-GB" sz="1400" dirty="0"/>
              <a:t>Read the intermediate topic with a single consumer instance</a:t>
            </a:r>
          </a:p>
        </p:txBody>
      </p:sp>
      <p:pic>
        <p:nvPicPr>
          <p:cNvPr id="8" name="Picture 2" descr="EDEM Escuela de Empresarios, Fundación de la Comunidad Valenciana -  Asociación Valenciana de Fundaciones de la CV">
            <a:extLst>
              <a:ext uri="{FF2B5EF4-FFF2-40B4-BE49-F238E27FC236}">
                <a16:creationId xmlns:a16="http://schemas.microsoft.com/office/drawing/2014/main" id="{C7FE6789-6D66-40FF-B7ED-15B47E88C8B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25192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afka Streams Operations</a:t>
            </a:r>
          </a:p>
        </p:txBody>
      </p:sp>
      <p:sp>
        <p:nvSpPr>
          <p:cNvPr id="3" name="Date Placeholder 2"/>
          <p:cNvSpPr>
            <a:spLocks noGrp="1"/>
          </p:cNvSpPr>
          <p:nvPr>
            <p:ph type="dt" sz="half" idx="2"/>
          </p:nvPr>
        </p:nvSpPr>
        <p:spPr/>
        <p:txBody>
          <a:bodyPr/>
          <a:lstStyle/>
          <a:p>
            <a:pPr defTabSz="685800"/>
            <a:fld id="{C0C9140A-8AD1-4D8E-9F46-B47E3C53E85F}" type="datetime1">
              <a:rPr lang="en-GB" smtClean="0"/>
              <a:t>02/12/2021</a:t>
            </a:fld>
            <a:endParaRPr lang="en-GB" dirty="0"/>
          </a:p>
        </p:txBody>
      </p:sp>
      <p:sp>
        <p:nvSpPr>
          <p:cNvPr id="5" name="Text Placeholder 4"/>
          <p:cNvSpPr>
            <a:spLocks noGrp="1"/>
          </p:cNvSpPr>
          <p:nvPr>
            <p:ph type="body" sz="quarter" idx="12"/>
          </p:nvPr>
        </p:nvSpPr>
        <p:spPr/>
        <p:txBody>
          <a:bodyPr/>
          <a:lstStyle/>
          <a:p>
            <a:endParaRPr lang="en-US"/>
          </a:p>
        </p:txBody>
      </p:sp>
      <p:sp>
        <p:nvSpPr>
          <p:cNvPr id="6" name="Footer Placeholder 5"/>
          <p:cNvSpPr>
            <a:spLocks noGrp="1"/>
          </p:cNvSpPr>
          <p:nvPr>
            <p:ph type="ftr" sz="quarter" idx="13"/>
          </p:nvPr>
        </p:nvSpPr>
        <p:spPr/>
        <p:txBody>
          <a:bodyPr/>
          <a:lstStyle/>
          <a:p>
            <a:r>
              <a:rPr lang="en-US"/>
              <a:t>Type here if  add info needed  for every slide</a:t>
            </a:r>
            <a:endParaRPr lang="en-US" dirty="0"/>
          </a:p>
        </p:txBody>
      </p:sp>
      <p:pic>
        <p:nvPicPr>
          <p:cNvPr id="130050" name="Picture 2" descr="https://kafka.apache.org/20/images/streams-stateful_operation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97260" y="1371421"/>
            <a:ext cx="4168011" cy="317562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557902" y="1385860"/>
            <a:ext cx="4043572" cy="3139321"/>
          </a:xfrm>
          <a:prstGeom prst="rect">
            <a:avLst/>
          </a:prstGeom>
        </p:spPr>
        <p:txBody>
          <a:bodyPr wrap="square">
            <a:spAutoFit/>
          </a:bodyPr>
          <a:lstStyle/>
          <a:p>
            <a:r>
              <a:rPr lang="en-US" b="1" dirty="0">
                <a:solidFill>
                  <a:schemeClr val="accent2"/>
                </a:solidFill>
                <a:latin typeface="Roboto"/>
              </a:rPr>
              <a:t>Stateless</a:t>
            </a:r>
            <a:r>
              <a:rPr lang="en-US" dirty="0">
                <a:solidFill>
                  <a:srgbClr val="000000"/>
                </a:solidFill>
                <a:latin typeface="Roboto"/>
              </a:rPr>
              <a:t> transformations do not require state for processing and they do not require a state store associated with the stream processor. </a:t>
            </a:r>
          </a:p>
          <a:p>
            <a:endParaRPr lang="en-US" dirty="0">
              <a:solidFill>
                <a:srgbClr val="000000"/>
              </a:solidFill>
              <a:latin typeface="Roboto"/>
            </a:endParaRPr>
          </a:p>
          <a:p>
            <a:r>
              <a:rPr lang="en-US" b="1" dirty="0">
                <a:solidFill>
                  <a:schemeClr val="accent2"/>
                </a:solidFill>
              </a:rPr>
              <a:t>Stateful</a:t>
            </a:r>
            <a:r>
              <a:rPr lang="en-US" dirty="0"/>
              <a:t> transformations depend on state for processing inputs and producing outputs and require a state store associated with the stream processor.</a:t>
            </a:r>
          </a:p>
        </p:txBody>
      </p:sp>
      <p:pic>
        <p:nvPicPr>
          <p:cNvPr id="8" name="Picture 2" descr="EDEM Escuela de Empresarios, Fundación de la Comunidad Valenciana -  Asociación Valenciana de Fundaciones de la CV">
            <a:extLst>
              <a:ext uri="{FF2B5EF4-FFF2-40B4-BE49-F238E27FC236}">
                <a16:creationId xmlns:a16="http://schemas.microsoft.com/office/drawing/2014/main" id="{2200EFBC-E5A4-45AE-BC38-6B11ACCE28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66101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KSQL</a:t>
            </a:r>
          </a:p>
        </p:txBody>
      </p:sp>
      <p:sp>
        <p:nvSpPr>
          <p:cNvPr id="3" name="Date Placeholder 2"/>
          <p:cNvSpPr>
            <a:spLocks noGrp="1"/>
          </p:cNvSpPr>
          <p:nvPr>
            <p:ph type="dt" sz="half" idx="2"/>
          </p:nvPr>
        </p:nvSpPr>
        <p:spPr/>
        <p:txBody>
          <a:bodyPr/>
          <a:lstStyle/>
          <a:p>
            <a:pPr defTabSz="685800"/>
            <a:fld id="{C0C9140A-8AD1-4D8E-9F46-B47E3C53E85F}" type="datetime1">
              <a:rPr lang="en-GB" smtClean="0"/>
              <a:t>02/12/2021</a:t>
            </a:fld>
            <a:endParaRPr lang="en-GB" dirty="0"/>
          </a:p>
        </p:txBody>
      </p:sp>
      <p:sp>
        <p:nvSpPr>
          <p:cNvPr id="8" name="Text Placeholder 7"/>
          <p:cNvSpPr>
            <a:spLocks noGrp="1"/>
          </p:cNvSpPr>
          <p:nvPr>
            <p:ph type="body" sz="quarter" idx="12"/>
          </p:nvPr>
        </p:nvSpPr>
        <p:spPr/>
        <p:txBody>
          <a:bodyPr/>
          <a:lstStyle/>
          <a:p>
            <a:endParaRPr lang="en-US"/>
          </a:p>
        </p:txBody>
      </p:sp>
      <p:sp>
        <p:nvSpPr>
          <p:cNvPr id="6" name="Footer Placeholder 5"/>
          <p:cNvSpPr>
            <a:spLocks noGrp="1"/>
          </p:cNvSpPr>
          <p:nvPr>
            <p:ph type="ftr" sz="quarter" idx="4294967295"/>
          </p:nvPr>
        </p:nvSpPr>
        <p:spPr>
          <a:xfrm>
            <a:off x="0" y="85725"/>
            <a:ext cx="720725" cy="249238"/>
          </a:xfrm>
        </p:spPr>
        <p:txBody>
          <a:bodyPr/>
          <a:lstStyle/>
          <a:p>
            <a:r>
              <a:rPr lang="en-US"/>
              <a:t>Type here if  add info needed  for every slide</a:t>
            </a:r>
            <a:endParaRPr lang="en-US" dirty="0"/>
          </a:p>
        </p:txBody>
      </p:sp>
      <p:pic>
        <p:nvPicPr>
          <p:cNvPr id="9" name="Picture 2" descr="EDEM Escuela de Empresarios, Fundación de la Comunidad Valenciana -  Asociación Valenciana de Fundaciones de la CV">
            <a:extLst>
              <a:ext uri="{FF2B5EF4-FFF2-40B4-BE49-F238E27FC236}">
                <a16:creationId xmlns:a16="http://schemas.microsoft.com/office/drawing/2014/main" id="{87AA4B28-CA81-4EAA-BAA5-612DD7F6267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98693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SQL</a:t>
            </a:r>
          </a:p>
        </p:txBody>
      </p:sp>
      <p:sp>
        <p:nvSpPr>
          <p:cNvPr id="3" name="Date Placeholder 2"/>
          <p:cNvSpPr>
            <a:spLocks noGrp="1"/>
          </p:cNvSpPr>
          <p:nvPr>
            <p:ph type="dt" sz="half" idx="2"/>
          </p:nvPr>
        </p:nvSpPr>
        <p:spPr/>
        <p:txBody>
          <a:bodyPr/>
          <a:lstStyle/>
          <a:p>
            <a:pPr defTabSz="685800"/>
            <a:fld id="{C0C9140A-8AD1-4D8E-9F46-B47E3C53E85F}" type="datetime1">
              <a:rPr lang="en-GB" smtClean="0"/>
              <a:t>02/12/2021</a:t>
            </a:fld>
            <a:endParaRPr lang="en-GB" dirty="0"/>
          </a:p>
        </p:txBody>
      </p:sp>
      <p:sp>
        <p:nvSpPr>
          <p:cNvPr id="5" name="Text Placeholder 4"/>
          <p:cNvSpPr>
            <a:spLocks noGrp="1"/>
          </p:cNvSpPr>
          <p:nvPr>
            <p:ph type="body" sz="quarter" idx="12"/>
          </p:nvPr>
        </p:nvSpPr>
        <p:spPr/>
        <p:txBody>
          <a:bodyPr/>
          <a:lstStyle/>
          <a:p>
            <a:endParaRPr lang="en-US"/>
          </a:p>
        </p:txBody>
      </p:sp>
      <p:sp>
        <p:nvSpPr>
          <p:cNvPr id="6" name="Footer Placeholder 5"/>
          <p:cNvSpPr>
            <a:spLocks noGrp="1"/>
          </p:cNvSpPr>
          <p:nvPr>
            <p:ph type="ftr" sz="quarter" idx="13"/>
          </p:nvPr>
        </p:nvSpPr>
        <p:spPr/>
        <p:txBody>
          <a:bodyPr/>
          <a:lstStyle/>
          <a:p>
            <a:r>
              <a:rPr lang="en-US"/>
              <a:t>Type here if  add info needed  for every slide</a:t>
            </a:r>
            <a:endParaRPr lang="en-US" dirty="0"/>
          </a:p>
        </p:txBody>
      </p:sp>
      <p:sp>
        <p:nvSpPr>
          <p:cNvPr id="7" name="Freeform 6"/>
          <p:cNvSpPr/>
          <p:nvPr/>
        </p:nvSpPr>
        <p:spPr>
          <a:xfrm>
            <a:off x="1618741" y="2456258"/>
            <a:ext cx="3527181" cy="889453"/>
          </a:xfrm>
          <a:custGeom>
            <a:avLst/>
            <a:gdLst>
              <a:gd name="connsiteX0" fmla="*/ 0 w 2709569"/>
              <a:gd name="connsiteY0" fmla="*/ 0 h 1325880"/>
              <a:gd name="connsiteX1" fmla="*/ 2117730 w 2709569"/>
              <a:gd name="connsiteY1" fmla="*/ 0 h 1325880"/>
              <a:gd name="connsiteX2" fmla="*/ 2708578 w 2709569"/>
              <a:gd name="connsiteY2" fmla="*/ 661636 h 1325880"/>
              <a:gd name="connsiteX3" fmla="*/ 2709569 w 2709569"/>
              <a:gd name="connsiteY3" fmla="*/ 663135 h 1325880"/>
              <a:gd name="connsiteX4" fmla="*/ 2117730 w 2709569"/>
              <a:gd name="connsiteY4" fmla="*/ 1325880 h 1325880"/>
              <a:gd name="connsiteX5" fmla="*/ 10 w 2709569"/>
              <a:gd name="connsiteY5" fmla="*/ 1325880 h 1325880"/>
              <a:gd name="connsiteX6" fmla="*/ 10 w 2709569"/>
              <a:gd name="connsiteY6" fmla="*/ 994295 h 1325880"/>
              <a:gd name="connsiteX7" fmla="*/ 0 w 2709569"/>
              <a:gd name="connsiteY7" fmla="*/ 994295 h 132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09569" h="1325880">
                <a:moveTo>
                  <a:pt x="0" y="0"/>
                </a:moveTo>
                <a:lnTo>
                  <a:pt x="2117730" y="0"/>
                </a:lnTo>
                <a:lnTo>
                  <a:pt x="2708578" y="661636"/>
                </a:lnTo>
                <a:lnTo>
                  <a:pt x="2709569" y="663135"/>
                </a:lnTo>
                <a:lnTo>
                  <a:pt x="2117730" y="1325880"/>
                </a:lnTo>
                <a:lnTo>
                  <a:pt x="10" y="1325880"/>
                </a:lnTo>
                <a:lnTo>
                  <a:pt x="10" y="994295"/>
                </a:lnTo>
                <a:lnTo>
                  <a:pt x="0" y="99429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a:r>
              <a:rPr lang="en-US" sz="1200" dirty="0">
                <a:solidFill>
                  <a:prstClr val="white"/>
                </a:solidFill>
                <a:effectLst>
                  <a:outerShdw blurRad="38100" dist="38100" dir="2700000" algn="tl">
                    <a:srgbClr val="000000">
                      <a:alpha val="43137"/>
                    </a:srgbClr>
                  </a:outerShdw>
                </a:effectLst>
              </a:rPr>
              <a:t>KStreams, KTable, filter(), map(),</a:t>
            </a:r>
          </a:p>
          <a:p>
            <a:pPr lvl="0"/>
            <a:r>
              <a:rPr lang="en-US" sz="1200" dirty="0">
                <a:solidFill>
                  <a:prstClr val="white"/>
                </a:solidFill>
                <a:effectLst>
                  <a:outerShdw blurRad="38100" dist="38100" dir="2700000" algn="tl">
                    <a:srgbClr val="000000">
                      <a:alpha val="43137"/>
                    </a:srgbClr>
                  </a:outerShdw>
                </a:effectLst>
              </a:rPr>
              <a:t>flatMap(), join(), aggregate(),…</a:t>
            </a:r>
          </a:p>
        </p:txBody>
      </p:sp>
      <p:grpSp>
        <p:nvGrpSpPr>
          <p:cNvPr id="8" name="Group 7"/>
          <p:cNvGrpSpPr/>
          <p:nvPr/>
        </p:nvGrpSpPr>
        <p:grpSpPr>
          <a:xfrm>
            <a:off x="5210442" y="2350142"/>
            <a:ext cx="1089387" cy="1263688"/>
            <a:chOff x="4524551" y="3756113"/>
            <a:chExt cx="754662" cy="875407"/>
          </a:xfrm>
        </p:grpSpPr>
        <p:grpSp>
          <p:nvGrpSpPr>
            <p:cNvPr id="9" name="Group 8"/>
            <p:cNvGrpSpPr/>
            <p:nvPr/>
          </p:nvGrpSpPr>
          <p:grpSpPr>
            <a:xfrm>
              <a:off x="4524551" y="3756113"/>
              <a:ext cx="754662" cy="875407"/>
              <a:chOff x="6708741" y="967041"/>
              <a:chExt cx="1144680" cy="1327828"/>
            </a:xfrm>
          </p:grpSpPr>
          <p:sp>
            <p:nvSpPr>
              <p:cNvPr id="11" name="Hexagon 10"/>
              <p:cNvSpPr/>
              <p:nvPr/>
            </p:nvSpPr>
            <p:spPr>
              <a:xfrm rot="16200000">
                <a:off x="6617167" y="1058615"/>
                <a:ext cx="1327828" cy="1144680"/>
              </a:xfrm>
              <a:prstGeom prst="hexagon">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 name="Hexagon 11"/>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0" name="TextBox 9"/>
            <p:cNvSpPr txBox="1"/>
            <p:nvPr/>
          </p:nvSpPr>
          <p:spPr>
            <a:xfrm>
              <a:off x="4615505" y="4040330"/>
              <a:ext cx="559472" cy="298493"/>
            </a:xfrm>
            <a:prstGeom prst="rect">
              <a:avLst/>
            </a:prstGeom>
            <a:noFill/>
          </p:spPr>
          <p:txBody>
            <a:bodyPr wrap="square" lIns="0" tIns="0" rIns="0" bIns="0" rtlCol="0">
              <a:spAutoFit/>
            </a:bodyPr>
            <a:lstStyle/>
            <a:p>
              <a:pPr algn="ctr"/>
              <a:r>
                <a:rPr lang="es-ES" sz="1400" b="1" dirty="0"/>
                <a:t>Kafka Streams</a:t>
              </a:r>
              <a:endParaRPr lang="en-GB" sz="1400" b="1" dirty="0" err="1"/>
            </a:p>
          </p:txBody>
        </p:sp>
      </p:grpSp>
      <p:grpSp>
        <p:nvGrpSpPr>
          <p:cNvPr id="13" name="Group 12"/>
          <p:cNvGrpSpPr/>
          <p:nvPr/>
        </p:nvGrpSpPr>
        <p:grpSpPr>
          <a:xfrm>
            <a:off x="5810330" y="1256986"/>
            <a:ext cx="1089387" cy="1263688"/>
            <a:chOff x="4524551" y="3756113"/>
            <a:chExt cx="754662" cy="875407"/>
          </a:xfrm>
        </p:grpSpPr>
        <p:grpSp>
          <p:nvGrpSpPr>
            <p:cNvPr id="14" name="Group 13"/>
            <p:cNvGrpSpPr/>
            <p:nvPr/>
          </p:nvGrpSpPr>
          <p:grpSpPr>
            <a:xfrm>
              <a:off x="4524551" y="3756113"/>
              <a:ext cx="754662" cy="875407"/>
              <a:chOff x="6708741" y="967041"/>
              <a:chExt cx="1144680" cy="1327828"/>
            </a:xfrm>
          </p:grpSpPr>
          <p:sp>
            <p:nvSpPr>
              <p:cNvPr id="16" name="Hexagon 15"/>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7" name="Hexagon 16"/>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5" name="TextBox 14"/>
            <p:cNvSpPr txBox="1"/>
            <p:nvPr/>
          </p:nvSpPr>
          <p:spPr>
            <a:xfrm>
              <a:off x="4719739" y="4113025"/>
              <a:ext cx="559472" cy="149247"/>
            </a:xfrm>
            <a:prstGeom prst="rect">
              <a:avLst/>
            </a:prstGeom>
            <a:noFill/>
          </p:spPr>
          <p:txBody>
            <a:bodyPr wrap="square" lIns="0" tIns="0" rIns="0" bIns="0" rtlCol="0">
              <a:spAutoFit/>
            </a:bodyPr>
            <a:lstStyle/>
            <a:p>
              <a:r>
                <a:rPr lang="es-ES" sz="1400" b="1" dirty="0"/>
                <a:t>KSQL</a:t>
              </a:r>
              <a:endParaRPr lang="en-GB" sz="1400" b="1" dirty="0" err="1"/>
            </a:p>
          </p:txBody>
        </p:sp>
      </p:grpSp>
      <p:sp>
        <p:nvSpPr>
          <p:cNvPr id="18" name="Freeform 17"/>
          <p:cNvSpPr/>
          <p:nvPr/>
        </p:nvSpPr>
        <p:spPr>
          <a:xfrm>
            <a:off x="2172761" y="1443936"/>
            <a:ext cx="3527181" cy="846968"/>
          </a:xfrm>
          <a:custGeom>
            <a:avLst/>
            <a:gdLst>
              <a:gd name="connsiteX0" fmla="*/ 0 w 2709569"/>
              <a:gd name="connsiteY0" fmla="*/ 0 h 1325880"/>
              <a:gd name="connsiteX1" fmla="*/ 2117730 w 2709569"/>
              <a:gd name="connsiteY1" fmla="*/ 0 h 1325880"/>
              <a:gd name="connsiteX2" fmla="*/ 2708578 w 2709569"/>
              <a:gd name="connsiteY2" fmla="*/ 661636 h 1325880"/>
              <a:gd name="connsiteX3" fmla="*/ 2709569 w 2709569"/>
              <a:gd name="connsiteY3" fmla="*/ 663135 h 1325880"/>
              <a:gd name="connsiteX4" fmla="*/ 2117730 w 2709569"/>
              <a:gd name="connsiteY4" fmla="*/ 1325880 h 1325880"/>
              <a:gd name="connsiteX5" fmla="*/ 10 w 2709569"/>
              <a:gd name="connsiteY5" fmla="*/ 1325880 h 1325880"/>
              <a:gd name="connsiteX6" fmla="*/ 10 w 2709569"/>
              <a:gd name="connsiteY6" fmla="*/ 994295 h 1325880"/>
              <a:gd name="connsiteX7" fmla="*/ 0 w 2709569"/>
              <a:gd name="connsiteY7" fmla="*/ 994295 h 132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09569" h="1325880">
                <a:moveTo>
                  <a:pt x="0" y="0"/>
                </a:moveTo>
                <a:lnTo>
                  <a:pt x="2117730" y="0"/>
                </a:lnTo>
                <a:lnTo>
                  <a:pt x="2708578" y="661636"/>
                </a:lnTo>
                <a:lnTo>
                  <a:pt x="2709569" y="663135"/>
                </a:lnTo>
                <a:lnTo>
                  <a:pt x="2117730" y="1325880"/>
                </a:lnTo>
                <a:lnTo>
                  <a:pt x="10" y="1325880"/>
                </a:lnTo>
                <a:lnTo>
                  <a:pt x="10" y="994295"/>
                </a:lnTo>
                <a:lnTo>
                  <a:pt x="0" y="99429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a:r>
              <a:rPr lang="en-US" sz="1200" dirty="0">
                <a:solidFill>
                  <a:prstClr val="white"/>
                </a:solidFill>
                <a:effectLst>
                  <a:outerShdw blurRad="38100" dist="38100" dir="2700000" algn="tl">
                    <a:srgbClr val="000000">
                      <a:alpha val="43137"/>
                    </a:srgbClr>
                  </a:outerShdw>
                </a:effectLst>
              </a:rPr>
              <a:t>CREATE STREAM, CREATE TABLE, </a:t>
            </a:r>
          </a:p>
          <a:p>
            <a:pPr lvl="0"/>
            <a:r>
              <a:rPr lang="en-US" sz="1200" dirty="0">
                <a:solidFill>
                  <a:prstClr val="white"/>
                </a:solidFill>
                <a:effectLst>
                  <a:outerShdw blurRad="38100" dist="38100" dir="2700000" algn="tl">
                    <a:srgbClr val="000000">
                      <a:alpha val="43137"/>
                    </a:srgbClr>
                  </a:outerShdw>
                </a:effectLst>
              </a:rPr>
              <a:t>SELECT, JOIN, GROUP BY, SUM, …</a:t>
            </a:r>
          </a:p>
        </p:txBody>
      </p:sp>
      <p:sp>
        <p:nvSpPr>
          <p:cNvPr id="19" name="Freeform 18"/>
          <p:cNvSpPr/>
          <p:nvPr/>
        </p:nvSpPr>
        <p:spPr>
          <a:xfrm>
            <a:off x="2172760" y="3576204"/>
            <a:ext cx="3527181" cy="889453"/>
          </a:xfrm>
          <a:custGeom>
            <a:avLst/>
            <a:gdLst>
              <a:gd name="connsiteX0" fmla="*/ 0 w 2709569"/>
              <a:gd name="connsiteY0" fmla="*/ 0 h 1325880"/>
              <a:gd name="connsiteX1" fmla="*/ 2117730 w 2709569"/>
              <a:gd name="connsiteY1" fmla="*/ 0 h 1325880"/>
              <a:gd name="connsiteX2" fmla="*/ 2708578 w 2709569"/>
              <a:gd name="connsiteY2" fmla="*/ 661636 h 1325880"/>
              <a:gd name="connsiteX3" fmla="*/ 2709569 w 2709569"/>
              <a:gd name="connsiteY3" fmla="*/ 663135 h 1325880"/>
              <a:gd name="connsiteX4" fmla="*/ 2117730 w 2709569"/>
              <a:gd name="connsiteY4" fmla="*/ 1325880 h 1325880"/>
              <a:gd name="connsiteX5" fmla="*/ 10 w 2709569"/>
              <a:gd name="connsiteY5" fmla="*/ 1325880 h 1325880"/>
              <a:gd name="connsiteX6" fmla="*/ 10 w 2709569"/>
              <a:gd name="connsiteY6" fmla="*/ 994295 h 1325880"/>
              <a:gd name="connsiteX7" fmla="*/ 0 w 2709569"/>
              <a:gd name="connsiteY7" fmla="*/ 994295 h 132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09569" h="1325880">
                <a:moveTo>
                  <a:pt x="0" y="0"/>
                </a:moveTo>
                <a:lnTo>
                  <a:pt x="2117730" y="0"/>
                </a:lnTo>
                <a:lnTo>
                  <a:pt x="2708578" y="661636"/>
                </a:lnTo>
                <a:lnTo>
                  <a:pt x="2709569" y="663135"/>
                </a:lnTo>
                <a:lnTo>
                  <a:pt x="2117730" y="1325880"/>
                </a:lnTo>
                <a:lnTo>
                  <a:pt x="10" y="1325880"/>
                </a:lnTo>
                <a:lnTo>
                  <a:pt x="10" y="994295"/>
                </a:lnTo>
                <a:lnTo>
                  <a:pt x="0" y="99429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a:r>
              <a:rPr lang="en-US" sz="1200" dirty="0">
                <a:solidFill>
                  <a:prstClr val="white"/>
                </a:solidFill>
                <a:effectLst>
                  <a:outerShdw blurRad="38100" dist="38100" dir="2700000" algn="tl">
                    <a:srgbClr val="000000">
                      <a:alpha val="43137"/>
                    </a:srgbClr>
                  </a:outerShdw>
                </a:effectLst>
              </a:rPr>
              <a:t>subscribe(), poll(), send(), flush(), beginTransaction(),…</a:t>
            </a:r>
          </a:p>
        </p:txBody>
      </p:sp>
      <p:sp>
        <p:nvSpPr>
          <p:cNvPr id="20" name="Up-Down Arrow 19"/>
          <p:cNvSpPr/>
          <p:nvPr/>
        </p:nvSpPr>
        <p:spPr>
          <a:xfrm>
            <a:off x="1227286" y="1632406"/>
            <a:ext cx="276225" cy="2652921"/>
          </a:xfrm>
          <a:prstGeom prst="upDownArrow">
            <a:avLst/>
          </a:prstGeom>
          <a:solidFill>
            <a:schemeClr val="accent3">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sp>
        <p:nvSpPr>
          <p:cNvPr id="21" name="Up Arrow 20"/>
          <p:cNvSpPr/>
          <p:nvPr/>
        </p:nvSpPr>
        <p:spPr>
          <a:xfrm>
            <a:off x="6495903" y="2628792"/>
            <a:ext cx="309347" cy="790015"/>
          </a:xfrm>
          <a:prstGeom prst="upArrow">
            <a:avLst/>
          </a:pr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pic>
        <p:nvPicPr>
          <p:cNvPr id="22" name="Picture 6" descr="Resultado de imagen de confluent KSQL logo transparen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60650" y="1316092"/>
            <a:ext cx="680406" cy="1079652"/>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p:cNvSpPr txBox="1"/>
          <p:nvPr/>
        </p:nvSpPr>
        <p:spPr>
          <a:xfrm>
            <a:off x="6805250" y="2927776"/>
            <a:ext cx="896079" cy="215444"/>
          </a:xfrm>
          <a:prstGeom prst="rect">
            <a:avLst/>
          </a:prstGeom>
          <a:noFill/>
        </p:spPr>
        <p:txBody>
          <a:bodyPr wrap="none" lIns="0" tIns="0" rIns="0" bIns="0" rtlCol="0">
            <a:spAutoFit/>
          </a:bodyPr>
          <a:lstStyle/>
          <a:p>
            <a:r>
              <a:rPr lang="es-ES" sz="1400" dirty="0"/>
              <a:t>Abstraction</a:t>
            </a:r>
            <a:endParaRPr lang="en-GB" sz="1400" dirty="0" err="1"/>
          </a:p>
        </p:txBody>
      </p:sp>
      <p:sp>
        <p:nvSpPr>
          <p:cNvPr id="25" name="TextBox 24"/>
          <p:cNvSpPr txBox="1"/>
          <p:nvPr/>
        </p:nvSpPr>
        <p:spPr>
          <a:xfrm>
            <a:off x="996707" y="4298715"/>
            <a:ext cx="737381" cy="215444"/>
          </a:xfrm>
          <a:prstGeom prst="rect">
            <a:avLst/>
          </a:prstGeom>
          <a:noFill/>
        </p:spPr>
        <p:txBody>
          <a:bodyPr wrap="none" lIns="0" tIns="0" rIns="0" bIns="0" rtlCol="0">
            <a:spAutoFit/>
          </a:bodyPr>
          <a:lstStyle/>
          <a:p>
            <a:r>
              <a:rPr lang="es-ES" sz="1400" dirty="0"/>
              <a:t>Flexibility</a:t>
            </a:r>
            <a:endParaRPr lang="en-GB" sz="1400" dirty="0" err="1"/>
          </a:p>
        </p:txBody>
      </p:sp>
      <p:sp>
        <p:nvSpPr>
          <p:cNvPr id="26" name="TextBox 25"/>
          <p:cNvSpPr txBox="1"/>
          <p:nvPr/>
        </p:nvSpPr>
        <p:spPr>
          <a:xfrm>
            <a:off x="897320" y="1370394"/>
            <a:ext cx="936154" cy="215444"/>
          </a:xfrm>
          <a:prstGeom prst="rect">
            <a:avLst/>
          </a:prstGeom>
          <a:noFill/>
        </p:spPr>
        <p:txBody>
          <a:bodyPr wrap="none" lIns="0" tIns="0" rIns="0" bIns="0" rtlCol="0">
            <a:spAutoFit/>
          </a:bodyPr>
          <a:lstStyle/>
          <a:p>
            <a:r>
              <a:rPr lang="es-ES" sz="1400" dirty="0"/>
              <a:t>Easy to use</a:t>
            </a:r>
            <a:endParaRPr lang="en-GB" sz="1400" dirty="0" err="1"/>
          </a:p>
        </p:txBody>
      </p:sp>
      <p:grpSp>
        <p:nvGrpSpPr>
          <p:cNvPr id="27" name="Group 26"/>
          <p:cNvGrpSpPr/>
          <p:nvPr/>
        </p:nvGrpSpPr>
        <p:grpSpPr>
          <a:xfrm>
            <a:off x="5803038" y="3418807"/>
            <a:ext cx="1089387" cy="1263688"/>
            <a:chOff x="4524551" y="3756113"/>
            <a:chExt cx="754662" cy="875407"/>
          </a:xfrm>
        </p:grpSpPr>
        <p:grpSp>
          <p:nvGrpSpPr>
            <p:cNvPr id="28" name="Group 27"/>
            <p:cNvGrpSpPr/>
            <p:nvPr/>
          </p:nvGrpSpPr>
          <p:grpSpPr>
            <a:xfrm>
              <a:off x="4524551" y="3756113"/>
              <a:ext cx="754662" cy="875407"/>
              <a:chOff x="6708741" y="967041"/>
              <a:chExt cx="1144680" cy="1327828"/>
            </a:xfrm>
          </p:grpSpPr>
          <p:sp>
            <p:nvSpPr>
              <p:cNvPr id="30" name="Hexagon 29"/>
              <p:cNvSpPr/>
              <p:nvPr/>
            </p:nvSpPr>
            <p:spPr>
              <a:xfrm rot="16200000">
                <a:off x="6617167" y="1058615"/>
                <a:ext cx="1327828" cy="1144680"/>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31" name="Hexagon 30"/>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29" name="TextBox 28"/>
            <p:cNvSpPr txBox="1"/>
            <p:nvPr/>
          </p:nvSpPr>
          <p:spPr>
            <a:xfrm>
              <a:off x="4627174" y="4085841"/>
              <a:ext cx="559472" cy="255851"/>
            </a:xfrm>
            <a:prstGeom prst="rect">
              <a:avLst/>
            </a:prstGeom>
            <a:noFill/>
          </p:spPr>
          <p:txBody>
            <a:bodyPr wrap="square" lIns="0" tIns="0" rIns="0" bIns="0" rtlCol="0">
              <a:spAutoFit/>
            </a:bodyPr>
            <a:lstStyle/>
            <a:p>
              <a:r>
                <a:rPr lang="es-ES" sz="1200" b="1" dirty="0"/>
                <a:t>Producer / Consumer</a:t>
              </a:r>
              <a:endParaRPr lang="en-GB" sz="1200" b="1" dirty="0" err="1"/>
            </a:p>
          </p:txBody>
        </p:sp>
      </p:grpSp>
      <p:pic>
        <p:nvPicPr>
          <p:cNvPr id="32" name="Picture 2" descr="EDEM Escuela de Empresarios, Fundación de la Comunidad Valenciana -  Asociación Valenciana de Fundaciones de la CV">
            <a:extLst>
              <a:ext uri="{FF2B5EF4-FFF2-40B4-BE49-F238E27FC236}">
                <a16:creationId xmlns:a16="http://schemas.microsoft.com/office/drawing/2014/main" id="{D7AF6DF6-6467-42F1-8513-F91241C1E74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84250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SQL</a:t>
            </a:r>
          </a:p>
        </p:txBody>
      </p:sp>
      <p:sp>
        <p:nvSpPr>
          <p:cNvPr id="3" name="Date Placeholder 2"/>
          <p:cNvSpPr>
            <a:spLocks noGrp="1"/>
          </p:cNvSpPr>
          <p:nvPr>
            <p:ph type="dt" sz="half" idx="2"/>
          </p:nvPr>
        </p:nvSpPr>
        <p:spPr/>
        <p:txBody>
          <a:bodyPr/>
          <a:lstStyle/>
          <a:p>
            <a:pPr defTabSz="685800"/>
            <a:fld id="{C0C9140A-8AD1-4D8E-9F46-B47E3C53E85F}" type="datetime1">
              <a:rPr lang="en-GB" smtClean="0"/>
              <a:t>02/12/2021</a:t>
            </a:fld>
            <a:endParaRPr lang="en-GB" dirty="0"/>
          </a:p>
        </p:txBody>
      </p:sp>
      <p:sp>
        <p:nvSpPr>
          <p:cNvPr id="5" name="Text Placeholder 4"/>
          <p:cNvSpPr>
            <a:spLocks noGrp="1"/>
          </p:cNvSpPr>
          <p:nvPr>
            <p:ph type="body" sz="quarter" idx="12"/>
          </p:nvPr>
        </p:nvSpPr>
        <p:spPr/>
        <p:txBody>
          <a:bodyPr/>
          <a:lstStyle/>
          <a:p>
            <a:endParaRPr lang="en-US"/>
          </a:p>
        </p:txBody>
      </p:sp>
      <p:sp>
        <p:nvSpPr>
          <p:cNvPr id="6" name="Footer Placeholder 5"/>
          <p:cNvSpPr>
            <a:spLocks noGrp="1"/>
          </p:cNvSpPr>
          <p:nvPr>
            <p:ph type="ftr" sz="quarter" idx="13"/>
          </p:nvPr>
        </p:nvSpPr>
        <p:spPr/>
        <p:txBody>
          <a:bodyPr/>
          <a:lstStyle/>
          <a:p>
            <a:r>
              <a:rPr lang="en-US"/>
              <a:t>Type here if  add info needed  for every slide</a:t>
            </a:r>
            <a:endParaRPr lang="en-US" dirty="0"/>
          </a:p>
        </p:txBody>
      </p:sp>
      <p:pic>
        <p:nvPicPr>
          <p:cNvPr id="7" name="Picture 6" descr="Resultado de imagen de confluent KSQL logo transparen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792410" y="1201840"/>
            <a:ext cx="632331" cy="1003368"/>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978102" y="3477604"/>
            <a:ext cx="4518227" cy="369332"/>
          </a:xfrm>
          <a:prstGeom prst="rect">
            <a:avLst/>
          </a:prstGeom>
        </p:spPr>
        <p:txBody>
          <a:bodyPr wrap="square">
            <a:spAutoFit/>
          </a:bodyPr>
          <a:lstStyle/>
          <a:p>
            <a:r>
              <a:rPr lang="en-GB" i="1" dirty="0">
                <a:solidFill>
                  <a:schemeClr val="accent1"/>
                </a:solidFill>
                <a:latin typeface="Roboto"/>
              </a:rPr>
              <a:t>Query Your Streams Without Writing Code</a:t>
            </a:r>
            <a:endParaRPr lang="en-GB" i="1" dirty="0">
              <a:solidFill>
                <a:schemeClr val="accent1"/>
              </a:solidFill>
              <a:effectLst/>
              <a:latin typeface="Roboto"/>
            </a:endParaRPr>
          </a:p>
        </p:txBody>
      </p:sp>
      <p:sp>
        <p:nvSpPr>
          <p:cNvPr id="9" name="Rectangle 8"/>
          <p:cNvSpPr/>
          <p:nvPr/>
        </p:nvSpPr>
        <p:spPr>
          <a:xfrm>
            <a:off x="921491" y="1134422"/>
            <a:ext cx="5023506" cy="1815882"/>
          </a:xfrm>
          <a:prstGeom prst="rect">
            <a:avLst/>
          </a:prstGeom>
        </p:spPr>
        <p:txBody>
          <a:bodyPr wrap="square">
            <a:spAutoFit/>
          </a:bodyPr>
          <a:lstStyle/>
          <a:p>
            <a:r>
              <a:rPr lang="en-GB" sz="1400" dirty="0"/>
              <a:t>KSQL is built on Kafka Streams</a:t>
            </a:r>
          </a:p>
          <a:p>
            <a:endParaRPr lang="en-GB" sz="1400" dirty="0"/>
          </a:p>
          <a:p>
            <a:pPr marL="285750" indent="-285750">
              <a:buFont typeface="Arial" panose="020B0604020202020204" pitchFamily="34" charset="0"/>
              <a:buChar char="•"/>
            </a:pPr>
            <a:r>
              <a:rPr lang="en-GB" sz="1400" b="1" dirty="0"/>
              <a:t>KSQL engine </a:t>
            </a:r>
            <a:r>
              <a:rPr lang="en-GB" sz="1400" dirty="0"/>
              <a:t>– processes KSQL statements and queries</a:t>
            </a:r>
          </a:p>
          <a:p>
            <a:pPr marL="285750" indent="-285750">
              <a:buFont typeface="Arial" panose="020B0604020202020204" pitchFamily="34" charset="0"/>
              <a:buChar char="•"/>
            </a:pPr>
            <a:r>
              <a:rPr lang="en-GB" sz="1400" b="1" dirty="0"/>
              <a:t>REST interface </a:t>
            </a:r>
            <a:r>
              <a:rPr lang="en-GB" sz="1400" dirty="0"/>
              <a:t>– enables client access to the engine</a:t>
            </a:r>
          </a:p>
          <a:p>
            <a:pPr marL="285750" indent="-285750">
              <a:buFont typeface="Arial" panose="020B0604020202020204" pitchFamily="34" charset="0"/>
              <a:buChar char="•"/>
            </a:pPr>
            <a:r>
              <a:rPr lang="en-GB" sz="1400" b="1" dirty="0"/>
              <a:t>KSQL CLI </a:t>
            </a:r>
            <a:r>
              <a:rPr lang="en-GB" sz="1400" dirty="0"/>
              <a:t>– console that provides a command-line interface (CLI) to the engine</a:t>
            </a:r>
          </a:p>
          <a:p>
            <a:pPr marL="285750" indent="-285750">
              <a:buFont typeface="Arial" panose="020B0604020202020204" pitchFamily="34" charset="0"/>
              <a:buChar char="•"/>
            </a:pPr>
            <a:r>
              <a:rPr lang="en-GB" sz="1400" b="1" dirty="0"/>
              <a:t>KSQL UI </a:t>
            </a:r>
            <a:r>
              <a:rPr lang="en-GB" sz="1400" dirty="0"/>
              <a:t>– enables developing KSQL applications in </a:t>
            </a:r>
            <a:r>
              <a:rPr lang="en-GB" sz="1400" b="1" i="1" dirty="0"/>
              <a:t>Confluent Control Center</a:t>
            </a:r>
          </a:p>
        </p:txBody>
      </p:sp>
      <p:grpSp>
        <p:nvGrpSpPr>
          <p:cNvPr id="10" name="Group 9"/>
          <p:cNvGrpSpPr/>
          <p:nvPr/>
        </p:nvGrpSpPr>
        <p:grpSpPr>
          <a:xfrm>
            <a:off x="6624553" y="2208507"/>
            <a:ext cx="852409" cy="946726"/>
            <a:chOff x="2617188" y="3221399"/>
            <a:chExt cx="1121332" cy="1245405"/>
          </a:xfrm>
        </p:grpSpPr>
        <p:grpSp>
          <p:nvGrpSpPr>
            <p:cNvPr id="11" name="Group 10"/>
            <p:cNvGrpSpPr/>
            <p:nvPr/>
          </p:nvGrpSpPr>
          <p:grpSpPr>
            <a:xfrm>
              <a:off x="2617188" y="3221399"/>
              <a:ext cx="1121332" cy="1245405"/>
              <a:chOff x="6708741" y="967041"/>
              <a:chExt cx="1144680" cy="1327828"/>
            </a:xfrm>
          </p:grpSpPr>
          <p:sp>
            <p:nvSpPr>
              <p:cNvPr id="13" name="Hexagon 12"/>
              <p:cNvSpPr/>
              <p:nvPr/>
            </p:nvSpPr>
            <p:spPr>
              <a:xfrm rot="16200000">
                <a:off x="6617167" y="1058615"/>
                <a:ext cx="1327828" cy="1144680"/>
              </a:xfrm>
              <a:prstGeom prst="hexagon">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4" name="Hexagon 13"/>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pic>
          <p:nvPicPr>
            <p:cNvPr id="12" name="Picture 2" descr="Resultado de imagen de apache kafk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41200" y="3625775"/>
              <a:ext cx="873306" cy="43665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 14"/>
          <p:cNvGrpSpPr/>
          <p:nvPr/>
        </p:nvGrpSpPr>
        <p:grpSpPr>
          <a:xfrm>
            <a:off x="6689841" y="3227023"/>
            <a:ext cx="723349" cy="839084"/>
            <a:chOff x="1893291" y="2900877"/>
            <a:chExt cx="723349" cy="839084"/>
          </a:xfrm>
        </p:grpSpPr>
        <p:grpSp>
          <p:nvGrpSpPr>
            <p:cNvPr id="16" name="Group 15"/>
            <p:cNvGrpSpPr/>
            <p:nvPr/>
          </p:nvGrpSpPr>
          <p:grpSpPr>
            <a:xfrm>
              <a:off x="1893291" y="2900877"/>
              <a:ext cx="723349" cy="839084"/>
              <a:chOff x="6708296" y="2106487"/>
              <a:chExt cx="880360" cy="1021217"/>
            </a:xfrm>
          </p:grpSpPr>
          <p:grpSp>
            <p:nvGrpSpPr>
              <p:cNvPr id="18" name="Group 17"/>
              <p:cNvGrpSpPr/>
              <p:nvPr/>
            </p:nvGrpSpPr>
            <p:grpSpPr>
              <a:xfrm>
                <a:off x="6708296" y="2106487"/>
                <a:ext cx="880360" cy="1021217"/>
                <a:chOff x="6708740" y="967041"/>
                <a:chExt cx="1144680" cy="1327828"/>
              </a:xfrm>
            </p:grpSpPr>
            <p:sp>
              <p:nvSpPr>
                <p:cNvPr id="20" name="Hexagon 19"/>
                <p:cNvSpPr/>
                <p:nvPr/>
              </p:nvSpPr>
              <p:spPr>
                <a:xfrm rot="16200000">
                  <a:off x="6617166" y="1058615"/>
                  <a:ext cx="1327828" cy="1144680"/>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21" name="Hexagon 20"/>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9" name="TextBox 18"/>
              <p:cNvSpPr txBox="1"/>
              <p:nvPr/>
            </p:nvSpPr>
            <p:spPr>
              <a:xfrm>
                <a:off x="6936923" y="2381450"/>
                <a:ext cx="421590" cy="323165"/>
              </a:xfrm>
              <a:prstGeom prst="rect">
                <a:avLst/>
              </a:prstGeom>
              <a:noFill/>
            </p:spPr>
            <p:txBody>
              <a:bodyPr wrap="none" lIns="0" tIns="0" rIns="0" bIns="0" rtlCol="0">
                <a:spAutoFit/>
              </a:bodyPr>
              <a:lstStyle/>
              <a:p>
                <a:pPr algn="ctr"/>
                <a:r>
                  <a:rPr lang="es-ES" sz="1050" b="1" dirty="0">
                    <a:solidFill>
                      <a:schemeClr val="accent2"/>
                    </a:solidFill>
                  </a:rPr>
                  <a:t>KSQL </a:t>
                </a:r>
              </a:p>
              <a:p>
                <a:pPr algn="ctr"/>
                <a:r>
                  <a:rPr lang="es-ES" sz="1050" b="1" dirty="0">
                    <a:solidFill>
                      <a:schemeClr val="accent2"/>
                    </a:solidFill>
                  </a:rPr>
                  <a:t>Server</a:t>
                </a:r>
                <a:endParaRPr lang="en-GB" sz="1050" b="1" dirty="0" err="1">
                  <a:solidFill>
                    <a:schemeClr val="accent2"/>
                  </a:solidFill>
                </a:endParaRPr>
              </a:p>
            </p:txBody>
          </p:sp>
        </p:grpSp>
        <p:sp>
          <p:nvSpPr>
            <p:cNvPr id="17" name="TextBox 16"/>
            <p:cNvSpPr txBox="1"/>
            <p:nvPr/>
          </p:nvSpPr>
          <p:spPr>
            <a:xfrm>
              <a:off x="2138792" y="3439880"/>
              <a:ext cx="230832" cy="138499"/>
            </a:xfrm>
            <a:prstGeom prst="rect">
              <a:avLst/>
            </a:prstGeom>
            <a:noFill/>
          </p:spPr>
          <p:txBody>
            <a:bodyPr wrap="none" lIns="0" tIns="0" rIns="0" bIns="0" rtlCol="0">
              <a:spAutoFit/>
            </a:bodyPr>
            <a:lstStyle/>
            <a:p>
              <a:r>
                <a:rPr lang="es-ES" sz="900" dirty="0"/>
                <a:t>JVM</a:t>
              </a:r>
              <a:endParaRPr lang="en-GB" sz="1400" dirty="0" err="1"/>
            </a:p>
          </p:txBody>
        </p:sp>
      </p:grpSp>
      <p:grpSp>
        <p:nvGrpSpPr>
          <p:cNvPr id="22" name="Group 21"/>
          <p:cNvGrpSpPr/>
          <p:nvPr/>
        </p:nvGrpSpPr>
        <p:grpSpPr>
          <a:xfrm>
            <a:off x="5874685" y="3227022"/>
            <a:ext cx="723349" cy="839084"/>
            <a:chOff x="1893291" y="2900877"/>
            <a:chExt cx="723349" cy="839084"/>
          </a:xfrm>
        </p:grpSpPr>
        <p:grpSp>
          <p:nvGrpSpPr>
            <p:cNvPr id="23" name="Group 22"/>
            <p:cNvGrpSpPr/>
            <p:nvPr/>
          </p:nvGrpSpPr>
          <p:grpSpPr>
            <a:xfrm>
              <a:off x="1893291" y="2900877"/>
              <a:ext cx="723349" cy="839084"/>
              <a:chOff x="6708296" y="2106487"/>
              <a:chExt cx="880360" cy="1021217"/>
            </a:xfrm>
          </p:grpSpPr>
          <p:grpSp>
            <p:nvGrpSpPr>
              <p:cNvPr id="25" name="Group 24"/>
              <p:cNvGrpSpPr/>
              <p:nvPr/>
            </p:nvGrpSpPr>
            <p:grpSpPr>
              <a:xfrm>
                <a:off x="6708296" y="2106487"/>
                <a:ext cx="880360" cy="1021217"/>
                <a:chOff x="6708740" y="967041"/>
                <a:chExt cx="1144680" cy="1327828"/>
              </a:xfrm>
            </p:grpSpPr>
            <p:sp>
              <p:nvSpPr>
                <p:cNvPr id="27" name="Hexagon 26"/>
                <p:cNvSpPr/>
                <p:nvPr/>
              </p:nvSpPr>
              <p:spPr>
                <a:xfrm rot="16200000">
                  <a:off x="6617166" y="1058615"/>
                  <a:ext cx="1327828" cy="1144680"/>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28" name="Hexagon 27"/>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26" name="TextBox 25"/>
              <p:cNvSpPr txBox="1"/>
              <p:nvPr/>
            </p:nvSpPr>
            <p:spPr>
              <a:xfrm>
                <a:off x="6936923" y="2381450"/>
                <a:ext cx="421590" cy="323165"/>
              </a:xfrm>
              <a:prstGeom prst="rect">
                <a:avLst/>
              </a:prstGeom>
              <a:noFill/>
            </p:spPr>
            <p:txBody>
              <a:bodyPr wrap="none" lIns="0" tIns="0" rIns="0" bIns="0" rtlCol="0">
                <a:spAutoFit/>
              </a:bodyPr>
              <a:lstStyle/>
              <a:p>
                <a:pPr algn="ctr"/>
                <a:r>
                  <a:rPr lang="es-ES" sz="1050" b="1" dirty="0">
                    <a:solidFill>
                      <a:schemeClr val="accent2"/>
                    </a:solidFill>
                  </a:rPr>
                  <a:t>KSQL </a:t>
                </a:r>
              </a:p>
              <a:p>
                <a:pPr algn="ctr"/>
                <a:r>
                  <a:rPr lang="es-ES" sz="1050" b="1" dirty="0">
                    <a:solidFill>
                      <a:schemeClr val="accent2"/>
                    </a:solidFill>
                  </a:rPr>
                  <a:t>Server</a:t>
                </a:r>
                <a:endParaRPr lang="en-GB" sz="1050" b="1" dirty="0" err="1">
                  <a:solidFill>
                    <a:schemeClr val="accent2"/>
                  </a:solidFill>
                </a:endParaRPr>
              </a:p>
            </p:txBody>
          </p:sp>
        </p:grpSp>
        <p:sp>
          <p:nvSpPr>
            <p:cNvPr id="24" name="TextBox 23"/>
            <p:cNvSpPr txBox="1"/>
            <p:nvPr/>
          </p:nvSpPr>
          <p:spPr>
            <a:xfrm>
              <a:off x="2138792" y="3439880"/>
              <a:ext cx="230832" cy="138499"/>
            </a:xfrm>
            <a:prstGeom prst="rect">
              <a:avLst/>
            </a:prstGeom>
            <a:noFill/>
          </p:spPr>
          <p:txBody>
            <a:bodyPr wrap="none" lIns="0" tIns="0" rIns="0" bIns="0" rtlCol="0">
              <a:spAutoFit/>
            </a:bodyPr>
            <a:lstStyle/>
            <a:p>
              <a:r>
                <a:rPr lang="es-ES" sz="900" dirty="0"/>
                <a:t>JVM</a:t>
              </a:r>
              <a:endParaRPr lang="en-GB" sz="1400" dirty="0" err="1"/>
            </a:p>
          </p:txBody>
        </p:sp>
      </p:grpSp>
      <p:grpSp>
        <p:nvGrpSpPr>
          <p:cNvPr id="29" name="Group 28"/>
          <p:cNvGrpSpPr/>
          <p:nvPr/>
        </p:nvGrpSpPr>
        <p:grpSpPr>
          <a:xfrm>
            <a:off x="7506501" y="3251680"/>
            <a:ext cx="723349" cy="839084"/>
            <a:chOff x="1893291" y="2900877"/>
            <a:chExt cx="723349" cy="839084"/>
          </a:xfrm>
        </p:grpSpPr>
        <p:grpSp>
          <p:nvGrpSpPr>
            <p:cNvPr id="30" name="Group 29"/>
            <p:cNvGrpSpPr/>
            <p:nvPr/>
          </p:nvGrpSpPr>
          <p:grpSpPr>
            <a:xfrm>
              <a:off x="1893291" y="2900877"/>
              <a:ext cx="723349" cy="839084"/>
              <a:chOff x="6708296" y="2106487"/>
              <a:chExt cx="880360" cy="1021217"/>
            </a:xfrm>
          </p:grpSpPr>
          <p:grpSp>
            <p:nvGrpSpPr>
              <p:cNvPr id="32" name="Group 31"/>
              <p:cNvGrpSpPr/>
              <p:nvPr/>
            </p:nvGrpSpPr>
            <p:grpSpPr>
              <a:xfrm>
                <a:off x="6708296" y="2106487"/>
                <a:ext cx="880360" cy="1021217"/>
                <a:chOff x="6708740" y="967041"/>
                <a:chExt cx="1144680" cy="1327828"/>
              </a:xfrm>
            </p:grpSpPr>
            <p:sp>
              <p:nvSpPr>
                <p:cNvPr id="34" name="Hexagon 33"/>
                <p:cNvSpPr/>
                <p:nvPr/>
              </p:nvSpPr>
              <p:spPr>
                <a:xfrm rot="16200000">
                  <a:off x="6617166" y="1058615"/>
                  <a:ext cx="1327828" cy="1144680"/>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35" name="Hexagon 34"/>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33" name="TextBox 32"/>
              <p:cNvSpPr txBox="1"/>
              <p:nvPr/>
            </p:nvSpPr>
            <p:spPr>
              <a:xfrm>
                <a:off x="6936923" y="2381450"/>
                <a:ext cx="421590" cy="323165"/>
              </a:xfrm>
              <a:prstGeom prst="rect">
                <a:avLst/>
              </a:prstGeom>
              <a:noFill/>
            </p:spPr>
            <p:txBody>
              <a:bodyPr wrap="none" lIns="0" tIns="0" rIns="0" bIns="0" rtlCol="0">
                <a:spAutoFit/>
              </a:bodyPr>
              <a:lstStyle/>
              <a:p>
                <a:pPr algn="ctr"/>
                <a:r>
                  <a:rPr lang="es-ES" sz="1050" b="1" dirty="0">
                    <a:solidFill>
                      <a:schemeClr val="accent2"/>
                    </a:solidFill>
                  </a:rPr>
                  <a:t>KSQL </a:t>
                </a:r>
              </a:p>
              <a:p>
                <a:pPr algn="ctr"/>
                <a:r>
                  <a:rPr lang="es-ES" sz="1050" b="1" dirty="0">
                    <a:solidFill>
                      <a:schemeClr val="accent2"/>
                    </a:solidFill>
                  </a:rPr>
                  <a:t>Server</a:t>
                </a:r>
                <a:endParaRPr lang="en-GB" sz="1050" b="1" dirty="0" err="1">
                  <a:solidFill>
                    <a:schemeClr val="accent2"/>
                  </a:solidFill>
                </a:endParaRPr>
              </a:p>
            </p:txBody>
          </p:sp>
        </p:grpSp>
        <p:sp>
          <p:nvSpPr>
            <p:cNvPr id="31" name="TextBox 30"/>
            <p:cNvSpPr txBox="1"/>
            <p:nvPr/>
          </p:nvSpPr>
          <p:spPr>
            <a:xfrm>
              <a:off x="2138792" y="3439880"/>
              <a:ext cx="230832" cy="138499"/>
            </a:xfrm>
            <a:prstGeom prst="rect">
              <a:avLst/>
            </a:prstGeom>
            <a:noFill/>
          </p:spPr>
          <p:txBody>
            <a:bodyPr wrap="none" lIns="0" tIns="0" rIns="0" bIns="0" rtlCol="0">
              <a:spAutoFit/>
            </a:bodyPr>
            <a:lstStyle/>
            <a:p>
              <a:r>
                <a:rPr lang="es-ES" sz="900" dirty="0"/>
                <a:t>JVM</a:t>
              </a:r>
              <a:endParaRPr lang="en-GB" sz="1400" dirty="0" err="1"/>
            </a:p>
          </p:txBody>
        </p:sp>
      </p:grpSp>
      <p:pic>
        <p:nvPicPr>
          <p:cNvPr id="36" name="Picture 4" descr="Resultado de imagen de SQL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16559" y="4095487"/>
            <a:ext cx="390995" cy="390995"/>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 descr="Resultado de imagen de SQL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42521" y="4090765"/>
            <a:ext cx="390995" cy="390995"/>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4" descr="Resultado de imagen de SQL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752002" y="4095487"/>
            <a:ext cx="390995" cy="390995"/>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descr="EDEM Escuela de Empresarios, Fundación de la Comunidad Valenciana -  Asociación Valenciana de Fundaciones de la CV">
            <a:extLst>
              <a:ext uri="{FF2B5EF4-FFF2-40B4-BE49-F238E27FC236}">
                <a16:creationId xmlns:a16="http://schemas.microsoft.com/office/drawing/2014/main" id="{382888B3-9996-42E2-BD50-C54BB066915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55028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Schema registry</a:t>
            </a:r>
          </a:p>
        </p:txBody>
      </p:sp>
      <p:sp>
        <p:nvSpPr>
          <p:cNvPr id="3" name="Date Placeholder 2"/>
          <p:cNvSpPr>
            <a:spLocks noGrp="1"/>
          </p:cNvSpPr>
          <p:nvPr>
            <p:ph type="dt" sz="half" idx="2"/>
          </p:nvPr>
        </p:nvSpPr>
        <p:spPr/>
        <p:txBody>
          <a:bodyPr/>
          <a:lstStyle/>
          <a:p>
            <a:pPr defTabSz="685800"/>
            <a:fld id="{C0C9140A-8AD1-4D8E-9F46-B47E3C53E85F}" type="datetime1">
              <a:rPr lang="en-GB" smtClean="0"/>
              <a:t>02/12/2021</a:t>
            </a:fld>
            <a:endParaRPr lang="en-GB" dirty="0"/>
          </a:p>
        </p:txBody>
      </p:sp>
      <p:sp>
        <p:nvSpPr>
          <p:cNvPr id="8" name="Text Placeholder 7"/>
          <p:cNvSpPr>
            <a:spLocks noGrp="1"/>
          </p:cNvSpPr>
          <p:nvPr>
            <p:ph type="body" sz="quarter" idx="12"/>
          </p:nvPr>
        </p:nvSpPr>
        <p:spPr/>
        <p:txBody>
          <a:bodyPr/>
          <a:lstStyle/>
          <a:p>
            <a:endParaRPr lang="en-US"/>
          </a:p>
        </p:txBody>
      </p:sp>
      <p:sp>
        <p:nvSpPr>
          <p:cNvPr id="6" name="Footer Placeholder 5"/>
          <p:cNvSpPr>
            <a:spLocks noGrp="1"/>
          </p:cNvSpPr>
          <p:nvPr>
            <p:ph type="ftr" sz="quarter" idx="4294967295"/>
          </p:nvPr>
        </p:nvSpPr>
        <p:spPr>
          <a:xfrm>
            <a:off x="0" y="85725"/>
            <a:ext cx="720725" cy="249238"/>
          </a:xfrm>
        </p:spPr>
        <p:txBody>
          <a:bodyPr/>
          <a:lstStyle/>
          <a:p>
            <a:r>
              <a:rPr lang="en-US"/>
              <a:t>Type here if  add info needed  for every slide</a:t>
            </a:r>
            <a:endParaRPr lang="en-US" dirty="0"/>
          </a:p>
        </p:txBody>
      </p:sp>
      <p:pic>
        <p:nvPicPr>
          <p:cNvPr id="9" name="Picture 2" descr="EDEM Escuela de Empresarios, Fundación de la Comunidad Valenciana -  Asociación Valenciana de Fundaciones de la CV">
            <a:extLst>
              <a:ext uri="{FF2B5EF4-FFF2-40B4-BE49-F238E27FC236}">
                <a16:creationId xmlns:a16="http://schemas.microsoft.com/office/drawing/2014/main" id="{C992A4F0-DA40-4826-9C91-524B7422232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56597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Kafka Schema Registry</a:t>
            </a:r>
          </a:p>
        </p:txBody>
      </p:sp>
      <p:sp>
        <p:nvSpPr>
          <p:cNvPr id="3" name="Date Placeholder 2"/>
          <p:cNvSpPr>
            <a:spLocks noGrp="1"/>
          </p:cNvSpPr>
          <p:nvPr>
            <p:ph type="dt" sz="half" idx="2"/>
          </p:nvPr>
        </p:nvSpPr>
        <p:spPr/>
        <p:txBody>
          <a:bodyPr/>
          <a:lstStyle/>
          <a:p>
            <a:pPr defTabSz="685800"/>
            <a:fld id="{97B746A9-829D-4556-8B99-7D5473FFBD99}" type="datetime1">
              <a:rPr lang="en-GB" smtClean="0"/>
              <a:t>02/12/2021</a:t>
            </a:fld>
            <a:endParaRPr lang="en-GB" dirty="0"/>
          </a:p>
        </p:txBody>
      </p:sp>
      <p:sp>
        <p:nvSpPr>
          <p:cNvPr id="6" name="Rectangle 22"/>
          <p:cNvSpPr>
            <a:spLocks/>
          </p:cNvSpPr>
          <p:nvPr/>
        </p:nvSpPr>
        <p:spPr bwMode="gray">
          <a:xfrm>
            <a:off x="5003800" y="1573213"/>
            <a:ext cx="3160016" cy="2852738"/>
          </a:xfrm>
          <a:prstGeom prst="rect">
            <a:avLst/>
          </a:prstGeom>
          <a:solidFill>
            <a:srgbClr val="0097D9"/>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r>
              <a:rPr lang="en-GB" sz="1400" b="1" dirty="0"/>
              <a:t>Benefits</a:t>
            </a:r>
          </a:p>
          <a:p>
            <a:endParaRPr lang="en-GB" sz="1400" dirty="0"/>
          </a:p>
          <a:p>
            <a:pPr marL="144000" indent="-144000">
              <a:buFont typeface="Wingdings" panose="05000000000000000000" pitchFamily="2" charset="2"/>
              <a:buChar char="§"/>
            </a:pPr>
            <a:r>
              <a:rPr lang="en-US" sz="1400" dirty="0"/>
              <a:t>Tackling organizational challenges of data management</a:t>
            </a:r>
          </a:p>
          <a:p>
            <a:pPr marL="144000" indent="-144000">
              <a:buFont typeface="Wingdings" panose="05000000000000000000" pitchFamily="2" charset="2"/>
              <a:buChar char="§"/>
            </a:pPr>
            <a:r>
              <a:rPr lang="en-GB" sz="1400" dirty="0"/>
              <a:t>Resilient data pipelines</a:t>
            </a:r>
          </a:p>
          <a:p>
            <a:pPr marL="144000" indent="-144000">
              <a:buFont typeface="Wingdings" panose="05000000000000000000" pitchFamily="2" charset="2"/>
              <a:buChar char="§"/>
            </a:pPr>
            <a:r>
              <a:rPr lang="en-GB" sz="1400" dirty="0"/>
              <a:t>Safe schema evolution</a:t>
            </a:r>
          </a:p>
          <a:p>
            <a:pPr marL="144000" indent="-144000">
              <a:buFont typeface="Wingdings" panose="05000000000000000000" pitchFamily="2" charset="2"/>
              <a:buChar char="§"/>
            </a:pPr>
            <a:r>
              <a:rPr lang="en-GB" sz="1400" dirty="0"/>
              <a:t>Storage and computation efficiency</a:t>
            </a:r>
          </a:p>
          <a:p>
            <a:pPr marL="144000" indent="-144000">
              <a:buFont typeface="Wingdings" panose="05000000000000000000" pitchFamily="2" charset="2"/>
              <a:buChar char="§"/>
            </a:pPr>
            <a:r>
              <a:rPr lang="en-GB" sz="1400" dirty="0"/>
              <a:t>Data discovery</a:t>
            </a:r>
          </a:p>
          <a:p>
            <a:pPr marL="144000" indent="-144000">
              <a:buFont typeface="Wingdings" panose="05000000000000000000" pitchFamily="2" charset="2"/>
              <a:buChar char="§"/>
            </a:pPr>
            <a:r>
              <a:rPr lang="en-GB" sz="1400" dirty="0"/>
              <a:t>Cost-efficient ecosystem</a:t>
            </a:r>
          </a:p>
          <a:p>
            <a:pPr marL="144000" indent="-144000">
              <a:buFont typeface="Wingdings" panose="05000000000000000000" pitchFamily="2" charset="2"/>
              <a:buChar char="§"/>
            </a:pPr>
            <a:r>
              <a:rPr lang="en-GB" sz="1400" dirty="0"/>
              <a:t>Data policy enforcement</a:t>
            </a:r>
          </a:p>
        </p:txBody>
      </p:sp>
      <p:sp>
        <p:nvSpPr>
          <p:cNvPr id="7" name="Rectangle 37"/>
          <p:cNvSpPr>
            <a:spLocks/>
          </p:cNvSpPr>
          <p:nvPr/>
        </p:nvSpPr>
        <p:spPr bwMode="gray">
          <a:xfrm>
            <a:off x="982663" y="1573213"/>
            <a:ext cx="3192462" cy="2852738"/>
          </a:xfrm>
          <a:prstGeom prst="rect">
            <a:avLst/>
          </a:prstGeom>
          <a:solidFill>
            <a:srgbClr val="0098B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r>
              <a:rPr lang="en-GB" sz="1200" b="1" dirty="0"/>
              <a:t>Why?</a:t>
            </a:r>
          </a:p>
          <a:p>
            <a:endParaRPr lang="en-GB" sz="1200" b="1" dirty="0"/>
          </a:p>
          <a:p>
            <a:pPr marL="144000" indent="-144000">
              <a:buFont typeface="Wingdings" panose="05000000000000000000" pitchFamily="2" charset="2"/>
              <a:buChar char="§"/>
            </a:pPr>
            <a:r>
              <a:rPr lang="es-ES" sz="1200" dirty="0" err="1"/>
              <a:t>Avro</a:t>
            </a:r>
            <a:r>
              <a:rPr lang="es-ES" sz="1200" dirty="0"/>
              <a:t> </a:t>
            </a:r>
            <a:r>
              <a:rPr lang="es-ES" sz="1200" dirty="0" err="1"/>
              <a:t>requires</a:t>
            </a:r>
            <a:r>
              <a:rPr lang="es-ES" sz="1200" dirty="0"/>
              <a:t> </a:t>
            </a:r>
            <a:r>
              <a:rPr lang="es-ES" sz="1200" dirty="0" err="1"/>
              <a:t>the</a:t>
            </a:r>
            <a:r>
              <a:rPr lang="es-ES" sz="1200" dirty="0"/>
              <a:t> </a:t>
            </a:r>
            <a:r>
              <a:rPr lang="es-ES" sz="1200" dirty="0" err="1"/>
              <a:t>entire</a:t>
            </a:r>
            <a:r>
              <a:rPr lang="es-ES" sz="1200" dirty="0"/>
              <a:t> </a:t>
            </a:r>
            <a:r>
              <a:rPr lang="es-ES" sz="1200" dirty="0" err="1"/>
              <a:t>schema</a:t>
            </a:r>
            <a:r>
              <a:rPr lang="es-ES" sz="1200" dirty="0"/>
              <a:t> to be </a:t>
            </a:r>
            <a:r>
              <a:rPr lang="es-ES" sz="1200" dirty="0" err="1"/>
              <a:t>present</a:t>
            </a:r>
            <a:r>
              <a:rPr lang="es-ES" sz="1200" dirty="0"/>
              <a:t> </a:t>
            </a:r>
            <a:r>
              <a:rPr lang="es-ES" sz="1200" dirty="0" err="1"/>
              <a:t>when</a:t>
            </a:r>
            <a:r>
              <a:rPr lang="es-ES" sz="1200" dirty="0"/>
              <a:t> </a:t>
            </a:r>
            <a:r>
              <a:rPr lang="es-ES" sz="1200" dirty="0" err="1"/>
              <a:t>reading</a:t>
            </a:r>
            <a:r>
              <a:rPr lang="es-ES" sz="1200" dirty="0"/>
              <a:t> </a:t>
            </a:r>
            <a:r>
              <a:rPr lang="es-ES" sz="1200" dirty="0" err="1"/>
              <a:t>the</a:t>
            </a:r>
            <a:r>
              <a:rPr lang="es-ES" sz="1200" dirty="0"/>
              <a:t> record so </a:t>
            </a:r>
            <a:r>
              <a:rPr lang="es-ES" sz="1200" dirty="0" err="1"/>
              <a:t>the</a:t>
            </a:r>
            <a:r>
              <a:rPr lang="es-ES" sz="1200" dirty="0"/>
              <a:t> </a:t>
            </a:r>
            <a:r>
              <a:rPr lang="es-ES" sz="1200" dirty="0" err="1"/>
              <a:t>schema</a:t>
            </a:r>
            <a:r>
              <a:rPr lang="es-ES" sz="1200" dirty="0"/>
              <a:t> </a:t>
            </a:r>
            <a:r>
              <a:rPr lang="es-ES" sz="1200" dirty="0" err="1"/>
              <a:t>needs</a:t>
            </a:r>
            <a:r>
              <a:rPr lang="es-ES" sz="1200" dirty="0"/>
              <a:t> to be </a:t>
            </a:r>
            <a:r>
              <a:rPr lang="es-ES" sz="1200" dirty="0" err="1"/>
              <a:t>located</a:t>
            </a:r>
            <a:r>
              <a:rPr lang="es-ES" sz="1200" dirty="0"/>
              <a:t> </a:t>
            </a:r>
            <a:r>
              <a:rPr lang="es-ES" sz="1200" dirty="0" err="1"/>
              <a:t>somewhere</a:t>
            </a:r>
            <a:endParaRPr lang="es-ES" sz="1200" dirty="0"/>
          </a:p>
          <a:p>
            <a:pPr marL="144000" indent="-144000">
              <a:buFont typeface="Wingdings" panose="05000000000000000000" pitchFamily="2" charset="2"/>
              <a:buChar char="§"/>
            </a:pPr>
            <a:endParaRPr lang="es-ES" sz="1200" dirty="0"/>
          </a:p>
          <a:p>
            <a:r>
              <a:rPr lang="es-ES" sz="1200" b="1" dirty="0" err="1"/>
              <a:t>How</a:t>
            </a:r>
            <a:r>
              <a:rPr lang="es-ES" sz="1200" b="1" dirty="0"/>
              <a:t>?</a:t>
            </a:r>
          </a:p>
          <a:p>
            <a:endParaRPr lang="es-ES" sz="1200" b="1" dirty="0"/>
          </a:p>
          <a:p>
            <a:pPr marL="144000" indent="-144000">
              <a:buFont typeface="Wingdings" panose="05000000000000000000" pitchFamily="2" charset="2"/>
              <a:buChar char="§"/>
            </a:pPr>
            <a:r>
              <a:rPr lang="es-ES" sz="1200" dirty="0"/>
              <a:t>Store </a:t>
            </a:r>
            <a:r>
              <a:rPr lang="es-ES" sz="1200" dirty="0" err="1"/>
              <a:t>all</a:t>
            </a:r>
            <a:r>
              <a:rPr lang="es-ES" sz="1200" dirty="0"/>
              <a:t> </a:t>
            </a:r>
            <a:r>
              <a:rPr lang="es-ES" sz="1200" dirty="0" err="1"/>
              <a:t>the</a:t>
            </a:r>
            <a:r>
              <a:rPr lang="es-ES" sz="1200" dirty="0"/>
              <a:t> </a:t>
            </a:r>
            <a:r>
              <a:rPr lang="es-ES" sz="1200" dirty="0" err="1"/>
              <a:t>schemas</a:t>
            </a:r>
            <a:r>
              <a:rPr lang="es-ES" sz="1200" dirty="0"/>
              <a:t> </a:t>
            </a:r>
            <a:r>
              <a:rPr lang="es-ES" sz="1200" dirty="0" err="1"/>
              <a:t>used</a:t>
            </a:r>
            <a:r>
              <a:rPr lang="es-ES" sz="1200" dirty="0"/>
              <a:t> to </a:t>
            </a:r>
            <a:r>
              <a:rPr lang="es-ES" sz="1200" dirty="0" err="1"/>
              <a:t>write</a:t>
            </a:r>
            <a:r>
              <a:rPr lang="es-ES" sz="1200" dirty="0"/>
              <a:t> data to Kafka in </a:t>
            </a:r>
            <a:r>
              <a:rPr lang="es-ES" sz="1200" dirty="0" err="1"/>
              <a:t>the</a:t>
            </a:r>
            <a:r>
              <a:rPr lang="es-ES" sz="1200" dirty="0"/>
              <a:t> </a:t>
            </a:r>
            <a:r>
              <a:rPr lang="es-ES" sz="1200" dirty="0" err="1"/>
              <a:t>registry</a:t>
            </a:r>
            <a:endParaRPr lang="es-ES" sz="1200" dirty="0"/>
          </a:p>
          <a:p>
            <a:pPr marL="144000" indent="-144000">
              <a:buFont typeface="Wingdings" panose="05000000000000000000" pitchFamily="2" charset="2"/>
              <a:buChar char="§"/>
            </a:pPr>
            <a:r>
              <a:rPr lang="es-ES" sz="1200" dirty="0" err="1"/>
              <a:t>Storing</a:t>
            </a:r>
            <a:r>
              <a:rPr lang="es-ES" sz="1200" dirty="0"/>
              <a:t> </a:t>
            </a:r>
            <a:r>
              <a:rPr lang="es-ES" sz="1200" dirty="0" err="1"/>
              <a:t>the</a:t>
            </a:r>
            <a:r>
              <a:rPr lang="es-ES" sz="1200" dirty="0"/>
              <a:t> </a:t>
            </a:r>
            <a:r>
              <a:rPr lang="es-ES" sz="1200" dirty="0" err="1"/>
              <a:t>schema</a:t>
            </a:r>
            <a:r>
              <a:rPr lang="es-ES" sz="1200" dirty="0"/>
              <a:t> and </a:t>
            </a:r>
            <a:r>
              <a:rPr lang="es-ES" sz="1200" dirty="0" err="1"/>
              <a:t>pulling</a:t>
            </a:r>
            <a:r>
              <a:rPr lang="es-ES" sz="1200" dirty="0"/>
              <a:t> </a:t>
            </a:r>
            <a:r>
              <a:rPr lang="es-ES" sz="1200" dirty="0" err="1"/>
              <a:t>it</a:t>
            </a:r>
            <a:r>
              <a:rPr lang="es-ES" sz="1200" dirty="0"/>
              <a:t> up </a:t>
            </a:r>
            <a:r>
              <a:rPr lang="es-ES" sz="1200" dirty="0" err="1"/>
              <a:t>when</a:t>
            </a:r>
            <a:r>
              <a:rPr lang="es-ES" sz="1200" dirty="0"/>
              <a:t> </a:t>
            </a:r>
            <a:r>
              <a:rPr lang="es-ES" sz="1200" dirty="0" err="1"/>
              <a:t>required</a:t>
            </a:r>
            <a:r>
              <a:rPr lang="es-ES" sz="1200" dirty="0"/>
              <a:t> </a:t>
            </a:r>
            <a:r>
              <a:rPr lang="es-ES" sz="1200" dirty="0" err="1"/>
              <a:t>is</a:t>
            </a:r>
            <a:r>
              <a:rPr lang="es-ES" sz="1200" dirty="0"/>
              <a:t> </a:t>
            </a:r>
            <a:r>
              <a:rPr lang="es-ES" sz="1200" dirty="0" err="1"/>
              <a:t>automatically</a:t>
            </a:r>
            <a:r>
              <a:rPr lang="es-ES" sz="1200" dirty="0"/>
              <a:t> done </a:t>
            </a:r>
            <a:r>
              <a:rPr lang="es-ES" sz="1200" dirty="0" err="1"/>
              <a:t>when</a:t>
            </a:r>
            <a:r>
              <a:rPr lang="es-ES" sz="1200" dirty="0"/>
              <a:t> </a:t>
            </a:r>
            <a:r>
              <a:rPr lang="es-ES" sz="1200" dirty="0" err="1"/>
              <a:t>using</a:t>
            </a:r>
            <a:r>
              <a:rPr lang="es-ES" sz="1200" dirty="0"/>
              <a:t> </a:t>
            </a:r>
            <a:r>
              <a:rPr lang="es-ES" sz="1200" dirty="0" err="1">
                <a:latin typeface="Consolas" panose="020B0609020204030204" pitchFamily="49" charset="0"/>
                <a:cs typeface="Consolas" panose="020B0609020204030204" pitchFamily="49" charset="0"/>
              </a:rPr>
              <a:t>KafkaAvro</a:t>
            </a:r>
            <a:r>
              <a:rPr lang="es-ES" sz="1200" dirty="0">
                <a:latin typeface="Consolas" panose="020B0609020204030204" pitchFamily="49" charset="0"/>
                <a:cs typeface="Consolas" panose="020B0609020204030204" pitchFamily="49" charset="0"/>
              </a:rPr>
              <a:t>(De)</a:t>
            </a:r>
            <a:r>
              <a:rPr lang="es-ES" sz="1200" dirty="0" err="1">
                <a:latin typeface="Consolas" panose="020B0609020204030204" pitchFamily="49" charset="0"/>
                <a:cs typeface="Consolas" panose="020B0609020204030204" pitchFamily="49" charset="0"/>
              </a:rPr>
              <a:t>Serializer</a:t>
            </a:r>
            <a:endParaRPr lang="es-ES" sz="1200" dirty="0">
              <a:latin typeface="Consolas" panose="020B0609020204030204" pitchFamily="49" charset="0"/>
              <a:cs typeface="Consolas" panose="020B0609020204030204" pitchFamily="49" charset="0"/>
            </a:endParaRPr>
          </a:p>
          <a:p>
            <a:pPr marL="144000" indent="-144000">
              <a:buFont typeface="Wingdings" panose="05000000000000000000" pitchFamily="2" charset="2"/>
              <a:buChar char="§"/>
            </a:pPr>
            <a:endParaRPr lang="en-US" sz="1400" dirty="0"/>
          </a:p>
        </p:txBody>
      </p:sp>
      <p:sp>
        <p:nvSpPr>
          <p:cNvPr id="10" name="Rectangle 58"/>
          <p:cNvSpPr/>
          <p:nvPr/>
        </p:nvSpPr>
        <p:spPr bwMode="gray">
          <a:xfrm>
            <a:off x="982661" y="4674136"/>
            <a:ext cx="4484820" cy="92333"/>
          </a:xfrm>
          <a:prstGeom prst="rect">
            <a:avLst/>
          </a:prstGeom>
          <a:noFill/>
        </p:spPr>
        <p:txBody>
          <a:bodyPr wrap="square" lIns="0" tIns="0" rIns="0" bIns="0" anchor="t" anchorCtr="0">
            <a:spAutoFit/>
          </a:bodyPr>
          <a:lstStyle/>
          <a:p>
            <a:r>
              <a:rPr lang="en-GB" sz="600" dirty="0">
                <a:solidFill>
                  <a:srgbClr val="000000"/>
                </a:solidFill>
                <a:cs typeface="Avenir Book"/>
              </a:rPr>
              <a:t>Source: </a:t>
            </a:r>
            <a:r>
              <a:rPr lang="en-GB" sz="600" dirty="0">
                <a:solidFill>
                  <a:srgbClr val="000000"/>
                </a:solidFill>
                <a:cs typeface="Avenir Book"/>
                <a:hlinkClick r:id="rId3"/>
              </a:rPr>
              <a:t>https://www.confluent.io/blog/schema-registry-kafka-stream-processing-yes-virginia-you-really-need-one/</a:t>
            </a:r>
            <a:endParaRPr lang="en-GB" sz="600" dirty="0">
              <a:solidFill>
                <a:srgbClr val="000000"/>
              </a:solidFill>
              <a:cs typeface="Avenir Book"/>
            </a:endParaRPr>
          </a:p>
        </p:txBody>
      </p:sp>
      <p:pic>
        <p:nvPicPr>
          <p:cNvPr id="8" name="Picture 2" descr="EDEM Escuela de Empresarios, Fundación de la Comunidad Valenciana -  Asociación Valenciana de Fundaciones de la CV">
            <a:extLst>
              <a:ext uri="{FF2B5EF4-FFF2-40B4-BE49-F238E27FC236}">
                <a16:creationId xmlns:a16="http://schemas.microsoft.com/office/drawing/2014/main" id="{EA8F9415-5778-4921-9C53-B939E00018F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8412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Kafka Schema Registry</a:t>
            </a:r>
          </a:p>
        </p:txBody>
      </p:sp>
      <p:sp>
        <p:nvSpPr>
          <p:cNvPr id="3" name="Date Placeholder 2"/>
          <p:cNvSpPr>
            <a:spLocks noGrp="1"/>
          </p:cNvSpPr>
          <p:nvPr>
            <p:ph type="dt" sz="half" idx="2"/>
          </p:nvPr>
        </p:nvSpPr>
        <p:spPr/>
        <p:txBody>
          <a:bodyPr/>
          <a:lstStyle/>
          <a:p>
            <a:pPr defTabSz="685800"/>
            <a:fld id="{97B746A9-829D-4556-8B99-7D5473FFBD99}" type="datetime1">
              <a:rPr lang="en-GB" smtClean="0"/>
              <a:t>02/12/2021</a:t>
            </a:fld>
            <a:endParaRPr lang="en-GB" dirty="0"/>
          </a:p>
        </p:txBody>
      </p:sp>
      <p:sp>
        <p:nvSpPr>
          <p:cNvPr id="4" name="Text Placeholder 3"/>
          <p:cNvSpPr>
            <a:spLocks noGrp="1"/>
          </p:cNvSpPr>
          <p:nvPr>
            <p:ph type="body" sz="quarter" idx="10"/>
          </p:nvPr>
        </p:nvSpPr>
        <p:spPr>
          <a:xfrm>
            <a:off x="977900" y="1573213"/>
            <a:ext cx="7191375" cy="3040832"/>
          </a:xfrm>
        </p:spPr>
        <p:txBody>
          <a:bodyPr/>
          <a:lstStyle/>
          <a:p>
            <a:r>
              <a:rPr lang="en-GB" dirty="0"/>
              <a:t>By Confluent</a:t>
            </a:r>
          </a:p>
          <a:p>
            <a:endParaRPr lang="en-GB" dirty="0"/>
          </a:p>
          <a:p>
            <a:r>
              <a:rPr lang="en-GB" dirty="0">
                <a:solidFill>
                  <a:srgbClr val="5082BE"/>
                </a:solidFill>
              </a:rPr>
              <a:t>Schema Registry provides a serving layer for your metadata (schema)</a:t>
            </a:r>
          </a:p>
          <a:p>
            <a:pPr lvl="1"/>
            <a:r>
              <a:rPr lang="en-GB" b="1" dirty="0"/>
              <a:t>RESTful interface</a:t>
            </a:r>
            <a:r>
              <a:rPr lang="en-GB" dirty="0"/>
              <a:t> for storing and retrieving Avro schemas</a:t>
            </a:r>
          </a:p>
          <a:p>
            <a:pPr lvl="1"/>
            <a:r>
              <a:rPr lang="en-GB" b="1" dirty="0"/>
              <a:t>Named and versioned schemas </a:t>
            </a:r>
            <a:r>
              <a:rPr lang="en-GB" dirty="0"/>
              <a:t>– history of all schemas</a:t>
            </a:r>
          </a:p>
          <a:p>
            <a:pPr lvl="2"/>
            <a:r>
              <a:rPr lang="en-US" dirty="0"/>
              <a:t>Kafka records can have a Key and a Value and both can have a schema.</a:t>
            </a:r>
            <a:endParaRPr lang="en-GB" dirty="0"/>
          </a:p>
          <a:p>
            <a:pPr lvl="1"/>
            <a:r>
              <a:rPr lang="en-GB" b="1" dirty="0" err="1"/>
              <a:t>Serializers</a:t>
            </a:r>
            <a:r>
              <a:rPr lang="en-GB" dirty="0"/>
              <a:t> that plug into Kafka clients that handle schema storage and retrieval for messages that are sent in Avro format</a:t>
            </a:r>
          </a:p>
          <a:p>
            <a:pPr lvl="1"/>
            <a:r>
              <a:rPr lang="en-GB" dirty="0"/>
              <a:t>Command-line </a:t>
            </a:r>
            <a:r>
              <a:rPr lang="en-GB" b="1" dirty="0"/>
              <a:t>formatters</a:t>
            </a:r>
            <a:r>
              <a:rPr lang="en-GB" dirty="0"/>
              <a:t> for automatically converting JSON messages to AVRO and vice-versa</a:t>
            </a:r>
          </a:p>
          <a:p>
            <a:r>
              <a:rPr lang="en-GB" dirty="0">
                <a:solidFill>
                  <a:srgbClr val="5082BE"/>
                </a:solidFill>
              </a:rPr>
              <a:t>Design</a:t>
            </a:r>
          </a:p>
          <a:p>
            <a:pPr lvl="1"/>
            <a:r>
              <a:rPr lang="en-GB" dirty="0"/>
              <a:t>Uses Kafka as its underlying storage mechanism and Zookeeper for synchronization tasks</a:t>
            </a:r>
          </a:p>
          <a:p>
            <a:pPr lvl="1"/>
            <a:r>
              <a:rPr lang="en-GB" dirty="0"/>
              <a:t>Single master architecture – only master writes on underlying Kafka log, all nodes are capable of serving reads</a:t>
            </a:r>
          </a:p>
        </p:txBody>
      </p:sp>
      <p:pic>
        <p:nvPicPr>
          <p:cNvPr id="5" name="Picture 2" descr="EDEM Escuela de Empresarios, Fundación de la Comunidad Valenciana -  Asociación Valenciana de Fundaciones de la CV">
            <a:extLst>
              <a:ext uri="{FF2B5EF4-FFF2-40B4-BE49-F238E27FC236}">
                <a16:creationId xmlns:a16="http://schemas.microsoft.com/office/drawing/2014/main" id="{3E5A5C82-7C66-4113-B7D9-EEDCE3EF7F6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17414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a:t>Kafka </a:t>
            </a:r>
            <a:r>
              <a:rPr lang="es-ES" dirty="0" err="1"/>
              <a:t>Schema</a:t>
            </a:r>
            <a:r>
              <a:rPr lang="es-ES" dirty="0"/>
              <a:t> </a:t>
            </a:r>
            <a:r>
              <a:rPr lang="es-ES" dirty="0" err="1"/>
              <a:t>Registry</a:t>
            </a:r>
            <a:r>
              <a:rPr lang="es-ES" dirty="0"/>
              <a:t> </a:t>
            </a:r>
            <a:r>
              <a:rPr lang="es-ES" dirty="0" err="1"/>
              <a:t>Example</a:t>
            </a:r>
            <a:endParaRPr lang="es-ES" dirty="0"/>
          </a:p>
        </p:txBody>
      </p:sp>
      <p:sp>
        <p:nvSpPr>
          <p:cNvPr id="3" name="Date Placeholder 2"/>
          <p:cNvSpPr>
            <a:spLocks noGrp="1"/>
          </p:cNvSpPr>
          <p:nvPr>
            <p:ph type="dt" sz="half" idx="2"/>
          </p:nvPr>
        </p:nvSpPr>
        <p:spPr/>
        <p:txBody>
          <a:bodyPr/>
          <a:lstStyle/>
          <a:p>
            <a:pPr defTabSz="685800"/>
            <a:fld id="{97B746A9-829D-4556-8B99-7D5473FFBD99}" type="datetime1">
              <a:rPr lang="en-GB" smtClean="0"/>
              <a:t>02/12/2021</a:t>
            </a:fld>
            <a:endParaRPr lang="en-GB" dirty="0"/>
          </a:p>
        </p:txBody>
      </p:sp>
      <p:sp>
        <p:nvSpPr>
          <p:cNvPr id="4" name="Text Placeholder 3"/>
          <p:cNvSpPr>
            <a:spLocks noGrp="1"/>
          </p:cNvSpPr>
          <p:nvPr>
            <p:ph type="body" sz="quarter" idx="10"/>
          </p:nvPr>
        </p:nvSpPr>
        <p:spPr>
          <a:xfrm>
            <a:off x="977900" y="1573213"/>
            <a:ext cx="3689633" cy="3016210"/>
          </a:xfrm>
        </p:spPr>
        <p:txBody>
          <a:bodyPr/>
          <a:lstStyle/>
          <a:p>
            <a:r>
              <a:rPr lang="es-ES" dirty="0" err="1"/>
              <a:t>Just</a:t>
            </a:r>
            <a:r>
              <a:rPr lang="es-ES" dirty="0"/>
              <a:t> use </a:t>
            </a:r>
            <a:r>
              <a:rPr lang="es-ES" b="1" dirty="0" err="1">
                <a:solidFill>
                  <a:srgbClr val="5082BE"/>
                </a:solidFill>
              </a:rPr>
              <a:t>Confluent’s</a:t>
            </a:r>
            <a:r>
              <a:rPr lang="es-ES" b="1" dirty="0">
                <a:solidFill>
                  <a:srgbClr val="5082BE"/>
                </a:solidFill>
              </a:rPr>
              <a:t> </a:t>
            </a:r>
            <a:r>
              <a:rPr lang="es-ES" b="1" dirty="0" err="1">
                <a:solidFill>
                  <a:srgbClr val="5082BE"/>
                </a:solidFill>
              </a:rPr>
              <a:t>KafkaAvroSerializer</a:t>
            </a:r>
            <a:r>
              <a:rPr lang="es-ES" b="1" dirty="0">
                <a:solidFill>
                  <a:srgbClr val="5082BE"/>
                </a:solidFill>
              </a:rPr>
              <a:t> and </a:t>
            </a:r>
            <a:r>
              <a:rPr lang="es-ES" b="1" dirty="0" err="1">
                <a:solidFill>
                  <a:srgbClr val="5082BE"/>
                </a:solidFill>
              </a:rPr>
              <a:t>KafkaAvroDecoder</a:t>
            </a:r>
            <a:endParaRPr lang="es-ES" b="1" dirty="0">
              <a:solidFill>
                <a:srgbClr val="5082BE"/>
              </a:solidFill>
            </a:endParaRPr>
          </a:p>
          <a:p>
            <a:pPr marL="406400" lvl="1" indent="-228600">
              <a:buFont typeface="+mj-lt"/>
              <a:buAutoNum type="arabicPeriod"/>
            </a:pPr>
            <a:r>
              <a:rPr lang="es-ES" dirty="0"/>
              <a:t>Producer </a:t>
            </a:r>
            <a:r>
              <a:rPr lang="es-ES" dirty="0" err="1"/>
              <a:t>checks</a:t>
            </a:r>
            <a:r>
              <a:rPr lang="es-ES" dirty="0"/>
              <a:t> </a:t>
            </a:r>
            <a:r>
              <a:rPr lang="es-ES" dirty="0" err="1"/>
              <a:t>if</a:t>
            </a:r>
            <a:r>
              <a:rPr lang="es-ES" dirty="0"/>
              <a:t> </a:t>
            </a:r>
            <a:r>
              <a:rPr lang="es-ES" dirty="0" err="1"/>
              <a:t>the</a:t>
            </a:r>
            <a:r>
              <a:rPr lang="es-ES" dirty="0"/>
              <a:t> </a:t>
            </a:r>
            <a:r>
              <a:rPr lang="es-ES" dirty="0" err="1"/>
              <a:t>schema</a:t>
            </a:r>
            <a:r>
              <a:rPr lang="es-ES" dirty="0"/>
              <a:t> </a:t>
            </a:r>
            <a:r>
              <a:rPr lang="es-ES" dirty="0" err="1"/>
              <a:t>is</a:t>
            </a:r>
            <a:r>
              <a:rPr lang="es-ES" dirty="0"/>
              <a:t> in </a:t>
            </a:r>
            <a:r>
              <a:rPr lang="es-ES" dirty="0" err="1"/>
              <a:t>Schema</a:t>
            </a:r>
            <a:r>
              <a:rPr lang="es-ES" dirty="0"/>
              <a:t> </a:t>
            </a:r>
            <a:r>
              <a:rPr lang="es-ES" dirty="0" err="1"/>
              <a:t>Registry</a:t>
            </a:r>
            <a:r>
              <a:rPr lang="es-ES" dirty="0"/>
              <a:t>; </a:t>
            </a:r>
            <a:r>
              <a:rPr lang="es-ES" dirty="0" err="1"/>
              <a:t>if</a:t>
            </a:r>
            <a:r>
              <a:rPr lang="es-ES" dirty="0"/>
              <a:t> </a:t>
            </a:r>
            <a:r>
              <a:rPr lang="es-ES" dirty="0" err="1"/>
              <a:t>not</a:t>
            </a:r>
            <a:r>
              <a:rPr lang="es-ES" dirty="0"/>
              <a:t>, </a:t>
            </a:r>
            <a:r>
              <a:rPr lang="es-ES" dirty="0" err="1"/>
              <a:t>it</a:t>
            </a:r>
            <a:r>
              <a:rPr lang="es-ES" dirty="0"/>
              <a:t> </a:t>
            </a:r>
            <a:r>
              <a:rPr lang="es-ES" dirty="0" err="1"/>
              <a:t>will</a:t>
            </a:r>
            <a:r>
              <a:rPr lang="es-ES" dirty="0"/>
              <a:t> </a:t>
            </a:r>
            <a:r>
              <a:rPr lang="es-ES" dirty="0" err="1"/>
              <a:t>register</a:t>
            </a:r>
            <a:r>
              <a:rPr lang="es-ES" dirty="0"/>
              <a:t> and cache </a:t>
            </a:r>
            <a:r>
              <a:rPr lang="es-ES" dirty="0" err="1"/>
              <a:t>it</a:t>
            </a:r>
            <a:endParaRPr lang="es-ES" dirty="0"/>
          </a:p>
          <a:p>
            <a:pPr marL="406400" lvl="1" indent="-228600">
              <a:buFont typeface="+mj-lt"/>
              <a:buAutoNum type="arabicPeriod"/>
            </a:pPr>
            <a:r>
              <a:rPr lang="en-US" dirty="0"/>
              <a:t>Schema Registry verifies if the schema is either the same as before or a valid evolution; if not, it will return an exception</a:t>
            </a:r>
          </a:p>
          <a:p>
            <a:pPr marL="406400" lvl="1" indent="-228600">
              <a:buFont typeface="+mj-lt"/>
              <a:buAutoNum type="arabicPeriod"/>
            </a:pPr>
            <a:r>
              <a:rPr lang="en-US" dirty="0"/>
              <a:t>Producer just includes the Schema ID in the message sent to Kafka; messages become much smaller!</a:t>
            </a:r>
          </a:p>
          <a:p>
            <a:pPr marL="406400" lvl="1" indent="-228600">
              <a:buFont typeface="+mj-lt"/>
              <a:buAutoNum type="arabicPeriod"/>
            </a:pPr>
            <a:r>
              <a:rPr lang="en-US" dirty="0"/>
              <a:t>Consumer gets the schema from Schema Registry and de-serializes content</a:t>
            </a:r>
          </a:p>
          <a:p>
            <a:pPr marL="279400" indent="-285750"/>
            <a:r>
              <a:rPr lang="en-US" b="1" dirty="0"/>
              <a:t>Kafka is used as the Schema Registry storage backend</a:t>
            </a:r>
            <a:endParaRPr lang="es-ES" b="1" dirty="0"/>
          </a:p>
        </p:txBody>
      </p:sp>
      <p:pic>
        <p:nvPicPr>
          <p:cNvPr id="5" name="Picture 4"/>
          <p:cNvPicPr>
            <a:picLocks noChangeAspect="1"/>
          </p:cNvPicPr>
          <p:nvPr/>
        </p:nvPicPr>
        <p:blipFill>
          <a:blip r:embed="rId2">
            <a:extLst>
              <a:ext uri="{BEBA8EAE-BF5A-486C-A8C5-ECC9F3942E4B}">
                <a14:imgProps xmlns:a14="http://schemas.microsoft.com/office/drawing/2010/main">
                  <a14:imgLayer r:embed="rId3">
                    <a14:imgEffect>
                      <a14:brightnessContrast bright="-20000" contrast="40000"/>
                    </a14:imgEffect>
                  </a14:imgLayer>
                </a14:imgProps>
              </a:ext>
            </a:extLst>
          </a:blip>
          <a:stretch>
            <a:fillRect/>
          </a:stretch>
        </p:blipFill>
        <p:spPr>
          <a:xfrm>
            <a:off x="4831307" y="1985401"/>
            <a:ext cx="3873571" cy="1576032"/>
          </a:xfrm>
          <a:prstGeom prst="rect">
            <a:avLst/>
          </a:prstGeom>
        </p:spPr>
      </p:pic>
      <p:pic>
        <p:nvPicPr>
          <p:cNvPr id="6" name="Picture 2" descr="EDEM Escuela de Empresarios, Fundación de la Comunidad Valenciana -  Asociación Valenciana de Fundaciones de la CV">
            <a:extLst>
              <a:ext uri="{FF2B5EF4-FFF2-40B4-BE49-F238E27FC236}">
                <a16:creationId xmlns:a16="http://schemas.microsoft.com/office/drawing/2014/main" id="{B02036A5-8221-46CD-B106-57177C6EA4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42964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Kafka Connect</a:t>
            </a:r>
          </a:p>
        </p:txBody>
      </p:sp>
      <p:sp>
        <p:nvSpPr>
          <p:cNvPr id="3" name="Date Placeholder 2"/>
          <p:cNvSpPr>
            <a:spLocks noGrp="1"/>
          </p:cNvSpPr>
          <p:nvPr>
            <p:ph type="dt" sz="half" idx="2"/>
          </p:nvPr>
        </p:nvSpPr>
        <p:spPr/>
        <p:txBody>
          <a:bodyPr/>
          <a:lstStyle/>
          <a:p>
            <a:pPr defTabSz="685800"/>
            <a:fld id="{C0C9140A-8AD1-4D8E-9F46-B47E3C53E85F}" type="datetime1">
              <a:rPr lang="en-GB" smtClean="0"/>
              <a:t>02/12/2021</a:t>
            </a:fld>
            <a:endParaRPr lang="en-GB" dirty="0"/>
          </a:p>
        </p:txBody>
      </p:sp>
      <p:sp>
        <p:nvSpPr>
          <p:cNvPr id="8" name="Text Placeholder 7"/>
          <p:cNvSpPr>
            <a:spLocks noGrp="1"/>
          </p:cNvSpPr>
          <p:nvPr>
            <p:ph type="body" sz="quarter" idx="12"/>
          </p:nvPr>
        </p:nvSpPr>
        <p:spPr/>
        <p:txBody>
          <a:bodyPr/>
          <a:lstStyle/>
          <a:p>
            <a:endParaRPr lang="en-US"/>
          </a:p>
        </p:txBody>
      </p:sp>
      <p:sp>
        <p:nvSpPr>
          <p:cNvPr id="6" name="Footer Placeholder 5"/>
          <p:cNvSpPr>
            <a:spLocks noGrp="1"/>
          </p:cNvSpPr>
          <p:nvPr>
            <p:ph type="ftr" sz="quarter" idx="4294967295"/>
          </p:nvPr>
        </p:nvSpPr>
        <p:spPr>
          <a:xfrm>
            <a:off x="0" y="85725"/>
            <a:ext cx="720725" cy="249238"/>
          </a:xfrm>
        </p:spPr>
        <p:txBody>
          <a:bodyPr/>
          <a:lstStyle/>
          <a:p>
            <a:r>
              <a:rPr lang="en-US"/>
              <a:t>Type here if  add info needed  for every slide</a:t>
            </a:r>
            <a:endParaRPr lang="en-US" dirty="0"/>
          </a:p>
        </p:txBody>
      </p:sp>
      <p:pic>
        <p:nvPicPr>
          <p:cNvPr id="9" name="Picture 2" descr="EDEM Escuela de Empresarios, Fundación de la Comunidad Valenciana -  Asociación Valenciana de Fundaciones de la CV">
            <a:extLst>
              <a:ext uri="{FF2B5EF4-FFF2-40B4-BE49-F238E27FC236}">
                <a16:creationId xmlns:a16="http://schemas.microsoft.com/office/drawing/2014/main" id="{B38E8A97-0DEA-4BD3-A492-744DE4143C9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32195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C90B7CA-01A4-4C30-92E4-0580FB733EF3}"/>
              </a:ext>
            </a:extLst>
          </p:cNvPr>
          <p:cNvGraphicFramePr>
            <a:graphicFrameLocks noChangeAspect="1"/>
          </p:cNvGraphicFramePr>
          <p:nvPr>
            <p:custDataLst>
              <p:tags r:id="rId1"/>
            </p:custDataLst>
            <p:extLst>
              <p:ext uri="{D42A27DB-BD31-4B8C-83A1-F6EECF244321}">
                <p14:modId xmlns:p14="http://schemas.microsoft.com/office/powerpoint/2010/main" val="910083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5" name="Objekt 4" hidden="1">
                        <a:extLst>
                          <a:ext uri="{FF2B5EF4-FFF2-40B4-BE49-F238E27FC236}">
                            <a16:creationId xmlns:a16="http://schemas.microsoft.com/office/drawing/2014/main" id="{3C90B7CA-01A4-4C30-92E4-0580FB733E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6EBED893-D778-4E5B-9236-DB7E4012CABA}"/>
              </a:ext>
            </a:extLst>
          </p:cNvPr>
          <p:cNvSpPr/>
          <p:nvPr>
            <p:custDataLst>
              <p:tags r:id="rId2"/>
            </p:custDataLst>
          </p:nvPr>
        </p:nvSpPr>
        <p:spPr bwMode="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GB" sz="4400" b="1" dirty="0">
              <a:solidFill>
                <a:schemeClr val="tx1"/>
              </a:solidFill>
              <a:latin typeface="Arial" panose="020B0604020202020204" pitchFamily="34" charset="0"/>
              <a:ea typeface="Geneva"/>
              <a:cs typeface="+mj-cs"/>
              <a:sym typeface="Arial" panose="020B0604020202020204" pitchFamily="34" charset="0"/>
            </a:endParaRPr>
          </a:p>
        </p:txBody>
      </p:sp>
      <p:sp>
        <p:nvSpPr>
          <p:cNvPr id="7" name="Titel 6"/>
          <p:cNvSpPr>
            <a:spLocks noGrp="1"/>
          </p:cNvSpPr>
          <p:nvPr>
            <p:ph type="title"/>
          </p:nvPr>
        </p:nvSpPr>
        <p:spPr bwMode="gray"/>
        <p:txBody>
          <a:bodyPr/>
          <a:lstStyle/>
          <a:p>
            <a:r>
              <a:rPr lang="en-GB" dirty="0"/>
              <a:t>Apache Kafka</a:t>
            </a:r>
          </a:p>
        </p:txBody>
      </p:sp>
      <p:sp>
        <p:nvSpPr>
          <p:cNvPr id="4" name="Datumsplatzhalter 3"/>
          <p:cNvSpPr>
            <a:spLocks noGrp="1"/>
          </p:cNvSpPr>
          <p:nvPr>
            <p:ph type="dt" sz="half" idx="2"/>
          </p:nvPr>
        </p:nvSpPr>
        <p:spPr bwMode="gray"/>
        <p:txBody>
          <a:bodyPr/>
          <a:lstStyle/>
          <a:p>
            <a:fld id="{253E42B6-9F8C-47AD-A648-EDF6EC1637B2}" type="datetime1">
              <a:rPr lang="en-GB" smtClean="0"/>
              <a:pPr/>
              <a:t>02/12/2021</a:t>
            </a:fld>
            <a:endParaRPr lang="en-GB" dirty="0"/>
          </a:p>
        </p:txBody>
      </p:sp>
      <p:sp>
        <p:nvSpPr>
          <p:cNvPr id="13" name="Textplatzhalter 12">
            <a:extLst>
              <a:ext uri="{FF2B5EF4-FFF2-40B4-BE49-F238E27FC236}">
                <a16:creationId xmlns:a16="http://schemas.microsoft.com/office/drawing/2014/main" id="{0A9FFFFE-B6C6-4155-80B6-8B632FF231AB}"/>
              </a:ext>
            </a:extLst>
          </p:cNvPr>
          <p:cNvSpPr>
            <a:spLocks noGrp="1"/>
          </p:cNvSpPr>
          <p:nvPr>
            <p:ph type="body" sz="quarter" idx="12"/>
          </p:nvPr>
        </p:nvSpPr>
        <p:spPr bwMode="gray"/>
        <p:txBody>
          <a:bodyPr/>
          <a:lstStyle/>
          <a:p>
            <a:endParaRPr lang="de-DE"/>
          </a:p>
        </p:txBody>
      </p:sp>
      <p:sp>
        <p:nvSpPr>
          <p:cNvPr id="3" name="Fußzeilenplatzhalter 2">
            <a:extLst>
              <a:ext uri="{FF2B5EF4-FFF2-40B4-BE49-F238E27FC236}">
                <a16:creationId xmlns:a16="http://schemas.microsoft.com/office/drawing/2014/main" id="{64CBA0FA-8CCE-473B-80DA-EEE80FF65A2D}"/>
              </a:ext>
            </a:extLst>
          </p:cNvPr>
          <p:cNvSpPr>
            <a:spLocks noGrp="1"/>
          </p:cNvSpPr>
          <p:nvPr>
            <p:ph type="ftr" sz="quarter" idx="14"/>
          </p:nvPr>
        </p:nvSpPr>
        <p:spPr bwMode="gray"/>
        <p:txBody>
          <a:bodyPr/>
          <a:lstStyle/>
          <a:p>
            <a:r>
              <a:rPr lang="en-GB"/>
              <a:t>Type here if  add info needed  for every slide</a:t>
            </a:r>
            <a:endParaRPr lang="en-GB" dirty="0"/>
          </a:p>
        </p:txBody>
      </p:sp>
      <p:pic>
        <p:nvPicPr>
          <p:cNvPr id="8" name="Picture 2" descr="EDEM Escuela de Empresarios, Fundación de la Comunidad Valenciana -  Asociación Valenciana de Fundaciones de la CV">
            <a:extLst>
              <a:ext uri="{FF2B5EF4-FFF2-40B4-BE49-F238E27FC236}">
                <a16:creationId xmlns:a16="http://schemas.microsoft.com/office/drawing/2014/main" id="{C436D167-AA00-4154-A711-C43CCBDE31F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90133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ECE56D40-2190-40CB-946C-18D5856F5845}"/>
              </a:ext>
            </a:extLst>
          </p:cNvPr>
          <p:cNvSpPr>
            <a:spLocks noGrp="1"/>
          </p:cNvSpPr>
          <p:nvPr>
            <p:ph type="title"/>
          </p:nvPr>
        </p:nvSpPr>
        <p:spPr/>
        <p:txBody>
          <a:bodyPr/>
          <a:lstStyle/>
          <a:p>
            <a:r>
              <a:rPr lang="en-US" dirty="0"/>
              <a:t>Kafka Connect</a:t>
            </a:r>
          </a:p>
        </p:txBody>
      </p:sp>
      <p:sp>
        <p:nvSpPr>
          <p:cNvPr id="4" name="Date Placeholder 3">
            <a:extLst>
              <a:ext uri="{FF2B5EF4-FFF2-40B4-BE49-F238E27FC236}">
                <a16:creationId xmlns:a16="http://schemas.microsoft.com/office/drawing/2014/main" id="{B16C9F97-03AE-4A86-B065-9BB1BA80791E}"/>
              </a:ext>
            </a:extLst>
          </p:cNvPr>
          <p:cNvSpPr>
            <a:spLocks noGrp="1"/>
          </p:cNvSpPr>
          <p:nvPr>
            <p:ph type="dt" sz="half" idx="2"/>
          </p:nvPr>
        </p:nvSpPr>
        <p:spPr/>
        <p:txBody>
          <a:bodyPr/>
          <a:lstStyle/>
          <a:p>
            <a:pPr defTabSz="685800"/>
            <a:fld id="{DBEF86FA-B96D-4345-BDDC-824718EE4D18}" type="datetime1">
              <a:rPr lang="en-GB" smtClean="0"/>
              <a:t>02/12/2021</a:t>
            </a:fld>
            <a:endParaRPr lang="en-GB" dirty="0"/>
          </a:p>
        </p:txBody>
      </p:sp>
      <p:sp>
        <p:nvSpPr>
          <p:cNvPr id="12" name="Text Placeholder 11">
            <a:extLst>
              <a:ext uri="{FF2B5EF4-FFF2-40B4-BE49-F238E27FC236}">
                <a16:creationId xmlns:a16="http://schemas.microsoft.com/office/drawing/2014/main" id="{41B11822-47B5-4FE1-BED1-AEC7FF4CB2A2}"/>
              </a:ext>
            </a:extLst>
          </p:cNvPr>
          <p:cNvSpPr>
            <a:spLocks noGrp="1"/>
          </p:cNvSpPr>
          <p:nvPr>
            <p:ph type="body" sz="quarter" idx="12"/>
          </p:nvPr>
        </p:nvSpPr>
        <p:spPr/>
        <p:txBody>
          <a:bodyPr/>
          <a:lstStyle/>
          <a:p>
            <a:endParaRPr lang="en-US"/>
          </a:p>
        </p:txBody>
      </p:sp>
      <p:sp>
        <p:nvSpPr>
          <p:cNvPr id="6" name="Footer Placeholder 5">
            <a:extLst>
              <a:ext uri="{FF2B5EF4-FFF2-40B4-BE49-F238E27FC236}">
                <a16:creationId xmlns:a16="http://schemas.microsoft.com/office/drawing/2014/main" id="{5EF5EE4E-3AFA-47A7-9186-2E2245CA4B62}"/>
              </a:ext>
            </a:extLst>
          </p:cNvPr>
          <p:cNvSpPr>
            <a:spLocks noGrp="1"/>
          </p:cNvSpPr>
          <p:nvPr>
            <p:ph type="ftr" sz="quarter" idx="13"/>
          </p:nvPr>
        </p:nvSpPr>
        <p:spPr/>
        <p:txBody>
          <a:bodyPr/>
          <a:lstStyle/>
          <a:p>
            <a:r>
              <a:rPr lang="en-US"/>
              <a:t>Type here if  add info needed  for every slide</a:t>
            </a:r>
            <a:endParaRPr lang="en-US" dirty="0"/>
          </a:p>
        </p:txBody>
      </p:sp>
      <p:grpSp>
        <p:nvGrpSpPr>
          <p:cNvPr id="28" name="Group 27">
            <a:extLst>
              <a:ext uri="{FF2B5EF4-FFF2-40B4-BE49-F238E27FC236}">
                <a16:creationId xmlns:a16="http://schemas.microsoft.com/office/drawing/2014/main" id="{0A13F688-B94A-4948-A371-6BCDA9A71B50}"/>
              </a:ext>
            </a:extLst>
          </p:cNvPr>
          <p:cNvGrpSpPr/>
          <p:nvPr/>
        </p:nvGrpSpPr>
        <p:grpSpPr>
          <a:xfrm>
            <a:off x="1803041" y="1146062"/>
            <a:ext cx="5592816" cy="2518650"/>
            <a:chOff x="2293308" y="1625619"/>
            <a:chExt cx="4694333" cy="2253139"/>
          </a:xfrm>
        </p:grpSpPr>
        <p:sp>
          <p:nvSpPr>
            <p:cNvPr id="29" name="Freeform: Shape 111">
              <a:extLst>
                <a:ext uri="{FF2B5EF4-FFF2-40B4-BE49-F238E27FC236}">
                  <a16:creationId xmlns:a16="http://schemas.microsoft.com/office/drawing/2014/main" id="{1ACF31A5-ECA5-4ECF-AAD7-33836CA6C66A}"/>
                </a:ext>
              </a:extLst>
            </p:cNvPr>
            <p:cNvSpPr/>
            <p:nvPr/>
          </p:nvSpPr>
          <p:spPr>
            <a:xfrm>
              <a:off x="5201450" y="1625619"/>
              <a:ext cx="1598529" cy="2249339"/>
            </a:xfrm>
            <a:custGeom>
              <a:avLst/>
              <a:gdLst>
                <a:gd name="connsiteX0" fmla="*/ 1569120 w 2671536"/>
                <a:gd name="connsiteY0" fmla="*/ 0 h 3759200"/>
                <a:gd name="connsiteX1" fmla="*/ 2671536 w 2671536"/>
                <a:gd name="connsiteY1" fmla="*/ 0 h 3759200"/>
                <a:gd name="connsiteX2" fmla="*/ 2671536 w 2671536"/>
                <a:gd name="connsiteY2" fmla="*/ 1147567 h 3759200"/>
                <a:gd name="connsiteX3" fmla="*/ 2671536 w 2671536"/>
                <a:gd name="connsiteY3" fmla="*/ 2708057 h 3759200"/>
                <a:gd name="connsiteX4" fmla="*/ 2671536 w 2671536"/>
                <a:gd name="connsiteY4" fmla="*/ 3759200 h 3759200"/>
                <a:gd name="connsiteX5" fmla="*/ 1447868 w 2671536"/>
                <a:gd name="connsiteY5" fmla="*/ 3759200 h 3759200"/>
                <a:gd name="connsiteX6" fmla="*/ 0 w 2671536"/>
                <a:gd name="connsiteY6" fmla="*/ 1885950 h 375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36" h="3759200">
                  <a:moveTo>
                    <a:pt x="1569120" y="0"/>
                  </a:moveTo>
                  <a:lnTo>
                    <a:pt x="2671536" y="0"/>
                  </a:lnTo>
                  <a:lnTo>
                    <a:pt x="2671536" y="1147567"/>
                  </a:lnTo>
                  <a:lnTo>
                    <a:pt x="2671536" y="2708057"/>
                  </a:lnTo>
                  <a:lnTo>
                    <a:pt x="2671536" y="3759200"/>
                  </a:lnTo>
                  <a:lnTo>
                    <a:pt x="1447868" y="3759200"/>
                  </a:lnTo>
                  <a:lnTo>
                    <a:pt x="0" y="188595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30" name="Freeform: Shape 110">
              <a:extLst>
                <a:ext uri="{FF2B5EF4-FFF2-40B4-BE49-F238E27FC236}">
                  <a16:creationId xmlns:a16="http://schemas.microsoft.com/office/drawing/2014/main" id="{DB6EEF5E-A4AF-4788-B24A-7AB6A60980E0}"/>
                </a:ext>
              </a:extLst>
            </p:cNvPr>
            <p:cNvSpPr/>
            <p:nvPr/>
          </p:nvSpPr>
          <p:spPr>
            <a:xfrm>
              <a:off x="2480467" y="1629418"/>
              <a:ext cx="1606128" cy="2249339"/>
            </a:xfrm>
            <a:custGeom>
              <a:avLst/>
              <a:gdLst>
                <a:gd name="connsiteX0" fmla="*/ 2684235 w 2684235"/>
                <a:gd name="connsiteY0" fmla="*/ 1885950 h 3759200"/>
                <a:gd name="connsiteX1" fmla="*/ 2684235 w 2684235"/>
                <a:gd name="connsiteY1" fmla="*/ 1885951 h 3759200"/>
                <a:gd name="connsiteX2" fmla="*/ 2684234 w 2684235"/>
                <a:gd name="connsiteY2" fmla="*/ 1885951 h 3759200"/>
                <a:gd name="connsiteX3" fmla="*/ 0 w 2684235"/>
                <a:gd name="connsiteY3" fmla="*/ 0 h 3759200"/>
                <a:gd name="connsiteX4" fmla="*/ 1217511 w 2684235"/>
                <a:gd name="connsiteY4" fmla="*/ 0 h 3759200"/>
                <a:gd name="connsiteX5" fmla="*/ 2684235 w 2684235"/>
                <a:gd name="connsiteY5" fmla="*/ 1885950 h 3759200"/>
                <a:gd name="connsiteX6" fmla="*/ 2465545 w 2684235"/>
                <a:gd name="connsiteY6" fmla="*/ 1818088 h 3759200"/>
                <a:gd name="connsiteX7" fmla="*/ 2465546 w 2684235"/>
                <a:gd name="connsiteY7" fmla="*/ 1818089 h 3759200"/>
                <a:gd name="connsiteX8" fmla="*/ 2684234 w 2684235"/>
                <a:gd name="connsiteY8" fmla="*/ 1885951 h 3759200"/>
                <a:gd name="connsiteX9" fmla="*/ 1108767 w 2684235"/>
                <a:gd name="connsiteY9" fmla="*/ 3759200 h 3759200"/>
                <a:gd name="connsiteX10" fmla="*/ 0 w 2684235"/>
                <a:gd name="connsiteY10" fmla="*/ 3759200 h 3759200"/>
                <a:gd name="connsiteX11" fmla="*/ 0 w 2684235"/>
                <a:gd name="connsiteY11" fmla="*/ 2617902 h 3759200"/>
                <a:gd name="connsiteX12" fmla="*/ 0 w 2684235"/>
                <a:gd name="connsiteY12" fmla="*/ 2617901 h 3759200"/>
                <a:gd name="connsiteX13" fmla="*/ 0 w 2684235"/>
                <a:gd name="connsiteY13" fmla="*/ 1052999 h 3759200"/>
                <a:gd name="connsiteX14" fmla="*/ 173119 w 2684235"/>
                <a:gd name="connsiteY14" fmla="*/ 1106720 h 3759200"/>
                <a:gd name="connsiteX15" fmla="*/ 173119 w 2684235"/>
                <a:gd name="connsiteY15" fmla="*/ 1106719 h 3759200"/>
                <a:gd name="connsiteX16" fmla="*/ 0 w 2684235"/>
                <a:gd name="connsiteY16" fmla="*/ 1052998 h 3759200"/>
                <a:gd name="connsiteX0" fmla="*/ 2684235 w 2684235"/>
                <a:gd name="connsiteY0" fmla="*/ 1885950 h 3759200"/>
                <a:gd name="connsiteX1" fmla="*/ 2684235 w 2684235"/>
                <a:gd name="connsiteY1" fmla="*/ 1885951 h 3759200"/>
                <a:gd name="connsiteX2" fmla="*/ 2684234 w 2684235"/>
                <a:gd name="connsiteY2" fmla="*/ 1885951 h 3759200"/>
                <a:gd name="connsiteX3" fmla="*/ 2684235 w 2684235"/>
                <a:gd name="connsiteY3" fmla="*/ 1885950 h 3759200"/>
                <a:gd name="connsiteX4" fmla="*/ 0 w 2684235"/>
                <a:gd name="connsiteY4" fmla="*/ 0 h 3759200"/>
                <a:gd name="connsiteX5" fmla="*/ 1217511 w 2684235"/>
                <a:gd name="connsiteY5" fmla="*/ 0 h 3759200"/>
                <a:gd name="connsiteX6" fmla="*/ 2684235 w 2684235"/>
                <a:gd name="connsiteY6" fmla="*/ 1885950 h 3759200"/>
                <a:gd name="connsiteX7" fmla="*/ 2465545 w 2684235"/>
                <a:gd name="connsiteY7" fmla="*/ 1818088 h 3759200"/>
                <a:gd name="connsiteX8" fmla="*/ 2465546 w 2684235"/>
                <a:gd name="connsiteY8" fmla="*/ 1818089 h 3759200"/>
                <a:gd name="connsiteX9" fmla="*/ 2684234 w 2684235"/>
                <a:gd name="connsiteY9" fmla="*/ 1885951 h 3759200"/>
                <a:gd name="connsiteX10" fmla="*/ 1108767 w 2684235"/>
                <a:gd name="connsiteY10" fmla="*/ 3759200 h 3759200"/>
                <a:gd name="connsiteX11" fmla="*/ 0 w 2684235"/>
                <a:gd name="connsiteY11" fmla="*/ 3759200 h 3759200"/>
                <a:gd name="connsiteX12" fmla="*/ 0 w 2684235"/>
                <a:gd name="connsiteY12" fmla="*/ 2617902 h 3759200"/>
                <a:gd name="connsiteX13" fmla="*/ 0 w 2684235"/>
                <a:gd name="connsiteY13" fmla="*/ 2617901 h 3759200"/>
                <a:gd name="connsiteX14" fmla="*/ 0 w 2684235"/>
                <a:gd name="connsiteY14" fmla="*/ 1052999 h 3759200"/>
                <a:gd name="connsiteX15" fmla="*/ 173119 w 2684235"/>
                <a:gd name="connsiteY15" fmla="*/ 1106720 h 3759200"/>
                <a:gd name="connsiteX16" fmla="*/ 0 w 2684235"/>
                <a:gd name="connsiteY16" fmla="*/ 1052998 h 3759200"/>
                <a:gd name="connsiteX17" fmla="*/ 0 w 2684235"/>
                <a:gd name="connsiteY17" fmla="*/ 0 h 3759200"/>
                <a:gd name="connsiteX0" fmla="*/ 2684235 w 2684235"/>
                <a:gd name="connsiteY0" fmla="*/ 1885950 h 3759200"/>
                <a:gd name="connsiteX1" fmla="*/ 2684235 w 2684235"/>
                <a:gd name="connsiteY1" fmla="*/ 1885951 h 3759200"/>
                <a:gd name="connsiteX2" fmla="*/ 2684234 w 2684235"/>
                <a:gd name="connsiteY2" fmla="*/ 1885951 h 3759200"/>
                <a:gd name="connsiteX3" fmla="*/ 2684235 w 2684235"/>
                <a:gd name="connsiteY3" fmla="*/ 1885950 h 3759200"/>
                <a:gd name="connsiteX4" fmla="*/ 0 w 2684235"/>
                <a:gd name="connsiteY4" fmla="*/ 0 h 3759200"/>
                <a:gd name="connsiteX5" fmla="*/ 1217511 w 2684235"/>
                <a:gd name="connsiteY5" fmla="*/ 0 h 3759200"/>
                <a:gd name="connsiteX6" fmla="*/ 2684235 w 2684235"/>
                <a:gd name="connsiteY6" fmla="*/ 1885950 h 3759200"/>
                <a:gd name="connsiteX7" fmla="*/ 2465545 w 2684235"/>
                <a:gd name="connsiteY7" fmla="*/ 1818088 h 3759200"/>
                <a:gd name="connsiteX8" fmla="*/ 2465546 w 2684235"/>
                <a:gd name="connsiteY8" fmla="*/ 1818089 h 3759200"/>
                <a:gd name="connsiteX9" fmla="*/ 2684234 w 2684235"/>
                <a:gd name="connsiteY9" fmla="*/ 1885951 h 3759200"/>
                <a:gd name="connsiteX10" fmla="*/ 1108767 w 2684235"/>
                <a:gd name="connsiteY10" fmla="*/ 3759200 h 3759200"/>
                <a:gd name="connsiteX11" fmla="*/ 0 w 2684235"/>
                <a:gd name="connsiteY11" fmla="*/ 3759200 h 3759200"/>
                <a:gd name="connsiteX12" fmla="*/ 0 w 2684235"/>
                <a:gd name="connsiteY12" fmla="*/ 2617902 h 3759200"/>
                <a:gd name="connsiteX13" fmla="*/ 0 w 2684235"/>
                <a:gd name="connsiteY13" fmla="*/ 2617901 h 3759200"/>
                <a:gd name="connsiteX14" fmla="*/ 0 w 2684235"/>
                <a:gd name="connsiteY14" fmla="*/ 1052999 h 3759200"/>
                <a:gd name="connsiteX15" fmla="*/ 0 w 2684235"/>
                <a:gd name="connsiteY15" fmla="*/ 1052998 h 3759200"/>
                <a:gd name="connsiteX16" fmla="*/ 0 w 2684235"/>
                <a:gd name="connsiteY16" fmla="*/ 0 h 3759200"/>
                <a:gd name="connsiteX0" fmla="*/ 2684235 w 2684235"/>
                <a:gd name="connsiteY0" fmla="*/ 1885950 h 3759200"/>
                <a:gd name="connsiteX1" fmla="*/ 2684235 w 2684235"/>
                <a:gd name="connsiteY1" fmla="*/ 1885951 h 3759200"/>
                <a:gd name="connsiteX2" fmla="*/ 2684234 w 2684235"/>
                <a:gd name="connsiteY2" fmla="*/ 1885951 h 3759200"/>
                <a:gd name="connsiteX3" fmla="*/ 2684235 w 2684235"/>
                <a:gd name="connsiteY3" fmla="*/ 1885950 h 3759200"/>
                <a:gd name="connsiteX4" fmla="*/ 0 w 2684235"/>
                <a:gd name="connsiteY4" fmla="*/ 0 h 3759200"/>
                <a:gd name="connsiteX5" fmla="*/ 1217511 w 2684235"/>
                <a:gd name="connsiteY5" fmla="*/ 0 h 3759200"/>
                <a:gd name="connsiteX6" fmla="*/ 2684235 w 2684235"/>
                <a:gd name="connsiteY6" fmla="*/ 1885950 h 3759200"/>
                <a:gd name="connsiteX7" fmla="*/ 2465545 w 2684235"/>
                <a:gd name="connsiteY7" fmla="*/ 1818088 h 3759200"/>
                <a:gd name="connsiteX8" fmla="*/ 2684234 w 2684235"/>
                <a:gd name="connsiteY8" fmla="*/ 1885951 h 3759200"/>
                <a:gd name="connsiteX9" fmla="*/ 1108767 w 2684235"/>
                <a:gd name="connsiteY9" fmla="*/ 3759200 h 3759200"/>
                <a:gd name="connsiteX10" fmla="*/ 0 w 2684235"/>
                <a:gd name="connsiteY10" fmla="*/ 3759200 h 3759200"/>
                <a:gd name="connsiteX11" fmla="*/ 0 w 2684235"/>
                <a:gd name="connsiteY11" fmla="*/ 2617902 h 3759200"/>
                <a:gd name="connsiteX12" fmla="*/ 0 w 2684235"/>
                <a:gd name="connsiteY12" fmla="*/ 2617901 h 3759200"/>
                <a:gd name="connsiteX13" fmla="*/ 0 w 2684235"/>
                <a:gd name="connsiteY13" fmla="*/ 1052999 h 3759200"/>
                <a:gd name="connsiteX14" fmla="*/ 0 w 2684235"/>
                <a:gd name="connsiteY14" fmla="*/ 1052998 h 3759200"/>
                <a:gd name="connsiteX15" fmla="*/ 0 w 2684235"/>
                <a:gd name="connsiteY15" fmla="*/ 0 h 3759200"/>
                <a:gd name="connsiteX0" fmla="*/ 2684235 w 2684235"/>
                <a:gd name="connsiteY0" fmla="*/ 1885950 h 3759200"/>
                <a:gd name="connsiteX1" fmla="*/ 2684235 w 2684235"/>
                <a:gd name="connsiteY1" fmla="*/ 1885951 h 3759200"/>
                <a:gd name="connsiteX2" fmla="*/ 2684234 w 2684235"/>
                <a:gd name="connsiteY2" fmla="*/ 1885951 h 3759200"/>
                <a:gd name="connsiteX3" fmla="*/ 2684235 w 2684235"/>
                <a:gd name="connsiteY3" fmla="*/ 1885950 h 3759200"/>
                <a:gd name="connsiteX4" fmla="*/ 0 w 2684235"/>
                <a:gd name="connsiteY4" fmla="*/ 0 h 3759200"/>
                <a:gd name="connsiteX5" fmla="*/ 1217511 w 2684235"/>
                <a:gd name="connsiteY5" fmla="*/ 0 h 3759200"/>
                <a:gd name="connsiteX6" fmla="*/ 2684235 w 2684235"/>
                <a:gd name="connsiteY6" fmla="*/ 1885950 h 3759200"/>
                <a:gd name="connsiteX7" fmla="*/ 2684234 w 2684235"/>
                <a:gd name="connsiteY7" fmla="*/ 1885951 h 3759200"/>
                <a:gd name="connsiteX8" fmla="*/ 1108767 w 2684235"/>
                <a:gd name="connsiteY8" fmla="*/ 3759200 h 3759200"/>
                <a:gd name="connsiteX9" fmla="*/ 0 w 2684235"/>
                <a:gd name="connsiteY9" fmla="*/ 3759200 h 3759200"/>
                <a:gd name="connsiteX10" fmla="*/ 0 w 2684235"/>
                <a:gd name="connsiteY10" fmla="*/ 2617902 h 3759200"/>
                <a:gd name="connsiteX11" fmla="*/ 0 w 2684235"/>
                <a:gd name="connsiteY11" fmla="*/ 2617901 h 3759200"/>
                <a:gd name="connsiteX12" fmla="*/ 0 w 2684235"/>
                <a:gd name="connsiteY12" fmla="*/ 1052999 h 3759200"/>
                <a:gd name="connsiteX13" fmla="*/ 0 w 2684235"/>
                <a:gd name="connsiteY13" fmla="*/ 1052998 h 3759200"/>
                <a:gd name="connsiteX14" fmla="*/ 0 w 2684235"/>
                <a:gd name="connsiteY14" fmla="*/ 0 h 375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84235" h="3759200">
                  <a:moveTo>
                    <a:pt x="2684235" y="1885950"/>
                  </a:moveTo>
                  <a:lnTo>
                    <a:pt x="2684235" y="1885951"/>
                  </a:lnTo>
                  <a:lnTo>
                    <a:pt x="2684234" y="1885951"/>
                  </a:lnTo>
                  <a:lnTo>
                    <a:pt x="2684235" y="1885950"/>
                  </a:lnTo>
                  <a:close/>
                  <a:moveTo>
                    <a:pt x="0" y="0"/>
                  </a:moveTo>
                  <a:lnTo>
                    <a:pt x="1217511" y="0"/>
                  </a:lnTo>
                  <a:lnTo>
                    <a:pt x="2684235" y="1885950"/>
                  </a:lnTo>
                  <a:lnTo>
                    <a:pt x="2684234" y="1885951"/>
                  </a:lnTo>
                  <a:lnTo>
                    <a:pt x="1108767" y="3759200"/>
                  </a:lnTo>
                  <a:lnTo>
                    <a:pt x="0" y="3759200"/>
                  </a:lnTo>
                  <a:lnTo>
                    <a:pt x="0" y="2617902"/>
                  </a:lnTo>
                  <a:lnTo>
                    <a:pt x="0" y="2617901"/>
                  </a:lnTo>
                  <a:lnTo>
                    <a:pt x="0" y="1052999"/>
                  </a:lnTo>
                  <a:lnTo>
                    <a:pt x="0" y="1052998"/>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grpSp>
          <p:nvGrpSpPr>
            <p:cNvPr id="31" name="Group 30">
              <a:extLst>
                <a:ext uri="{FF2B5EF4-FFF2-40B4-BE49-F238E27FC236}">
                  <a16:creationId xmlns:a16="http://schemas.microsoft.com/office/drawing/2014/main" id="{AC144FCB-71D3-4944-AC33-2A3EF1F8DCF5}"/>
                </a:ext>
              </a:extLst>
            </p:cNvPr>
            <p:cNvGrpSpPr/>
            <p:nvPr/>
          </p:nvGrpSpPr>
          <p:grpSpPr>
            <a:xfrm>
              <a:off x="2480467" y="1629418"/>
              <a:ext cx="1606128" cy="2249339"/>
              <a:chOff x="3418116" y="1752601"/>
              <a:chExt cx="2684235" cy="3759200"/>
            </a:xfrm>
          </p:grpSpPr>
          <p:sp>
            <p:nvSpPr>
              <p:cNvPr id="44" name="Freeform: Shape 58">
                <a:extLst>
                  <a:ext uri="{FF2B5EF4-FFF2-40B4-BE49-F238E27FC236}">
                    <a16:creationId xmlns:a16="http://schemas.microsoft.com/office/drawing/2014/main" id="{E9433989-3BDB-413C-81E8-3EF052CE3B3B}"/>
                  </a:ext>
                </a:extLst>
              </p:cNvPr>
              <p:cNvSpPr/>
              <p:nvPr/>
            </p:nvSpPr>
            <p:spPr>
              <a:xfrm>
                <a:off x="3418116" y="1752601"/>
                <a:ext cx="2684235" cy="1885950"/>
              </a:xfrm>
              <a:custGeom>
                <a:avLst/>
                <a:gdLst>
                  <a:gd name="connsiteX0" fmla="*/ 0 w 2684235"/>
                  <a:gd name="connsiteY0" fmla="*/ 0 h 1885950"/>
                  <a:gd name="connsiteX1" fmla="*/ 1217511 w 2684235"/>
                  <a:gd name="connsiteY1" fmla="*/ 0 h 1885950"/>
                  <a:gd name="connsiteX2" fmla="*/ 2684235 w 2684235"/>
                  <a:gd name="connsiteY2" fmla="*/ 1885950 h 1885950"/>
                  <a:gd name="connsiteX3" fmla="*/ 0 w 2684235"/>
                  <a:gd name="connsiteY3" fmla="*/ 1052998 h 1885950"/>
                </a:gdLst>
                <a:ahLst/>
                <a:cxnLst>
                  <a:cxn ang="0">
                    <a:pos x="connsiteX0" y="connsiteY0"/>
                  </a:cxn>
                  <a:cxn ang="0">
                    <a:pos x="connsiteX1" y="connsiteY1"/>
                  </a:cxn>
                  <a:cxn ang="0">
                    <a:pos x="connsiteX2" y="connsiteY2"/>
                  </a:cxn>
                  <a:cxn ang="0">
                    <a:pos x="connsiteX3" y="connsiteY3"/>
                  </a:cxn>
                </a:cxnLst>
                <a:rect l="l" t="t" r="r" b="b"/>
                <a:pathLst>
                  <a:path w="2684235" h="1885950">
                    <a:moveTo>
                      <a:pt x="0" y="0"/>
                    </a:moveTo>
                    <a:lnTo>
                      <a:pt x="1217511" y="0"/>
                    </a:lnTo>
                    <a:lnTo>
                      <a:pt x="2684235" y="1885950"/>
                    </a:lnTo>
                    <a:lnTo>
                      <a:pt x="0" y="1052998"/>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45" name="Freeform: Shape 60">
                <a:extLst>
                  <a:ext uri="{FF2B5EF4-FFF2-40B4-BE49-F238E27FC236}">
                    <a16:creationId xmlns:a16="http://schemas.microsoft.com/office/drawing/2014/main" id="{78422BD0-4FF8-46AA-9A39-C699DD1B1DBD}"/>
                  </a:ext>
                </a:extLst>
              </p:cNvPr>
              <p:cNvSpPr/>
              <p:nvPr/>
            </p:nvSpPr>
            <p:spPr>
              <a:xfrm>
                <a:off x="3418116" y="2805599"/>
                <a:ext cx="2684235" cy="1564903"/>
              </a:xfrm>
              <a:custGeom>
                <a:avLst/>
                <a:gdLst>
                  <a:gd name="connsiteX0" fmla="*/ 0 w 2684235"/>
                  <a:gd name="connsiteY0" fmla="*/ 0 h 1564903"/>
                  <a:gd name="connsiteX1" fmla="*/ 2684235 w 2684235"/>
                  <a:gd name="connsiteY1" fmla="*/ 832952 h 1564903"/>
                  <a:gd name="connsiteX2" fmla="*/ 0 w 2684235"/>
                  <a:gd name="connsiteY2" fmla="*/ 1564903 h 1564903"/>
                </a:gdLst>
                <a:ahLst/>
                <a:cxnLst>
                  <a:cxn ang="0">
                    <a:pos x="connsiteX0" y="connsiteY0"/>
                  </a:cxn>
                  <a:cxn ang="0">
                    <a:pos x="connsiteX1" y="connsiteY1"/>
                  </a:cxn>
                  <a:cxn ang="0">
                    <a:pos x="connsiteX2" y="connsiteY2"/>
                  </a:cxn>
                </a:cxnLst>
                <a:rect l="l" t="t" r="r" b="b"/>
                <a:pathLst>
                  <a:path w="2684235" h="1564903">
                    <a:moveTo>
                      <a:pt x="0" y="0"/>
                    </a:moveTo>
                    <a:lnTo>
                      <a:pt x="2684235" y="832952"/>
                    </a:lnTo>
                    <a:lnTo>
                      <a:pt x="0" y="1564903"/>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46" name="Freeform: Shape 62">
                <a:extLst>
                  <a:ext uri="{FF2B5EF4-FFF2-40B4-BE49-F238E27FC236}">
                    <a16:creationId xmlns:a16="http://schemas.microsoft.com/office/drawing/2014/main" id="{9FA72FEA-3E3B-40E1-BE9B-9617C09A7BC4}"/>
                  </a:ext>
                </a:extLst>
              </p:cNvPr>
              <p:cNvSpPr/>
              <p:nvPr/>
            </p:nvSpPr>
            <p:spPr>
              <a:xfrm>
                <a:off x="3418116" y="3638551"/>
                <a:ext cx="2684235" cy="1873250"/>
              </a:xfrm>
              <a:custGeom>
                <a:avLst/>
                <a:gdLst>
                  <a:gd name="connsiteX0" fmla="*/ 2684235 w 2684235"/>
                  <a:gd name="connsiteY0" fmla="*/ 0 h 1873250"/>
                  <a:gd name="connsiteX1" fmla="*/ 1108767 w 2684235"/>
                  <a:gd name="connsiteY1" fmla="*/ 1873250 h 1873250"/>
                  <a:gd name="connsiteX2" fmla="*/ 0 w 2684235"/>
                  <a:gd name="connsiteY2" fmla="*/ 1873250 h 1873250"/>
                  <a:gd name="connsiteX3" fmla="*/ 0 w 2684235"/>
                  <a:gd name="connsiteY3" fmla="*/ 731951 h 1873250"/>
                </a:gdLst>
                <a:ahLst/>
                <a:cxnLst>
                  <a:cxn ang="0">
                    <a:pos x="connsiteX0" y="connsiteY0"/>
                  </a:cxn>
                  <a:cxn ang="0">
                    <a:pos x="connsiteX1" y="connsiteY1"/>
                  </a:cxn>
                  <a:cxn ang="0">
                    <a:pos x="connsiteX2" y="connsiteY2"/>
                  </a:cxn>
                  <a:cxn ang="0">
                    <a:pos x="connsiteX3" y="connsiteY3"/>
                  </a:cxn>
                </a:cxnLst>
                <a:rect l="l" t="t" r="r" b="b"/>
                <a:pathLst>
                  <a:path w="2684235" h="1873250">
                    <a:moveTo>
                      <a:pt x="2684235" y="0"/>
                    </a:moveTo>
                    <a:lnTo>
                      <a:pt x="1108767" y="1873250"/>
                    </a:lnTo>
                    <a:lnTo>
                      <a:pt x="0" y="1873250"/>
                    </a:lnTo>
                    <a:lnTo>
                      <a:pt x="0" y="731951"/>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grpSp>
        <p:grpSp>
          <p:nvGrpSpPr>
            <p:cNvPr id="32" name="Group 31">
              <a:extLst>
                <a:ext uri="{FF2B5EF4-FFF2-40B4-BE49-F238E27FC236}">
                  <a16:creationId xmlns:a16="http://schemas.microsoft.com/office/drawing/2014/main" id="{15BF72F7-FD0F-4D33-878B-BA87EE0ECDCF}"/>
                </a:ext>
              </a:extLst>
            </p:cNvPr>
            <p:cNvGrpSpPr/>
            <p:nvPr/>
          </p:nvGrpSpPr>
          <p:grpSpPr>
            <a:xfrm>
              <a:off x="5201450" y="1625619"/>
              <a:ext cx="1598529" cy="2249339"/>
              <a:chOff x="6102351" y="1752601"/>
              <a:chExt cx="2671536" cy="3759200"/>
            </a:xfrm>
          </p:grpSpPr>
          <p:sp>
            <p:nvSpPr>
              <p:cNvPr id="41" name="Freeform: Shape 64">
                <a:extLst>
                  <a:ext uri="{FF2B5EF4-FFF2-40B4-BE49-F238E27FC236}">
                    <a16:creationId xmlns:a16="http://schemas.microsoft.com/office/drawing/2014/main" id="{FECBFDA4-BDAB-4830-A2D4-187720684577}"/>
                  </a:ext>
                </a:extLst>
              </p:cNvPr>
              <p:cNvSpPr/>
              <p:nvPr/>
            </p:nvSpPr>
            <p:spPr>
              <a:xfrm>
                <a:off x="6102351" y="1752601"/>
                <a:ext cx="2671536" cy="1885951"/>
              </a:xfrm>
              <a:custGeom>
                <a:avLst/>
                <a:gdLst>
                  <a:gd name="connsiteX0" fmla="*/ 1569120 w 2671536"/>
                  <a:gd name="connsiteY0" fmla="*/ 0 h 1885950"/>
                  <a:gd name="connsiteX1" fmla="*/ 2671536 w 2671536"/>
                  <a:gd name="connsiteY1" fmla="*/ 0 h 1885950"/>
                  <a:gd name="connsiteX2" fmla="*/ 2671536 w 2671536"/>
                  <a:gd name="connsiteY2" fmla="*/ 1147567 h 1885950"/>
                  <a:gd name="connsiteX3" fmla="*/ 0 w 2671536"/>
                  <a:gd name="connsiteY3" fmla="*/ 1885950 h 1885950"/>
                </a:gdLst>
                <a:ahLst/>
                <a:cxnLst>
                  <a:cxn ang="0">
                    <a:pos x="connsiteX0" y="connsiteY0"/>
                  </a:cxn>
                  <a:cxn ang="0">
                    <a:pos x="connsiteX1" y="connsiteY1"/>
                  </a:cxn>
                  <a:cxn ang="0">
                    <a:pos x="connsiteX2" y="connsiteY2"/>
                  </a:cxn>
                  <a:cxn ang="0">
                    <a:pos x="connsiteX3" y="connsiteY3"/>
                  </a:cxn>
                </a:cxnLst>
                <a:rect l="l" t="t" r="r" b="b"/>
                <a:pathLst>
                  <a:path w="2671536" h="1885950">
                    <a:moveTo>
                      <a:pt x="1569120" y="0"/>
                    </a:moveTo>
                    <a:lnTo>
                      <a:pt x="2671536" y="0"/>
                    </a:lnTo>
                    <a:lnTo>
                      <a:pt x="2671536" y="1147567"/>
                    </a:lnTo>
                    <a:lnTo>
                      <a:pt x="0" y="188595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42" name="Freeform: Shape 66">
                <a:extLst>
                  <a:ext uri="{FF2B5EF4-FFF2-40B4-BE49-F238E27FC236}">
                    <a16:creationId xmlns:a16="http://schemas.microsoft.com/office/drawing/2014/main" id="{61537342-7BEE-4BCB-B383-EC0F19AD8FD8}"/>
                  </a:ext>
                </a:extLst>
              </p:cNvPr>
              <p:cNvSpPr/>
              <p:nvPr/>
            </p:nvSpPr>
            <p:spPr>
              <a:xfrm>
                <a:off x="6102351" y="2900168"/>
                <a:ext cx="2671536" cy="1560491"/>
              </a:xfrm>
              <a:custGeom>
                <a:avLst/>
                <a:gdLst>
                  <a:gd name="connsiteX0" fmla="*/ 2671536 w 2671536"/>
                  <a:gd name="connsiteY0" fmla="*/ 0 h 1560490"/>
                  <a:gd name="connsiteX1" fmla="*/ 2671536 w 2671536"/>
                  <a:gd name="connsiteY1" fmla="*/ 1560490 h 1560490"/>
                  <a:gd name="connsiteX2" fmla="*/ 0 w 2671536"/>
                  <a:gd name="connsiteY2" fmla="*/ 738383 h 1560490"/>
                </a:gdLst>
                <a:ahLst/>
                <a:cxnLst>
                  <a:cxn ang="0">
                    <a:pos x="connsiteX0" y="connsiteY0"/>
                  </a:cxn>
                  <a:cxn ang="0">
                    <a:pos x="connsiteX1" y="connsiteY1"/>
                  </a:cxn>
                  <a:cxn ang="0">
                    <a:pos x="connsiteX2" y="connsiteY2"/>
                  </a:cxn>
                </a:cxnLst>
                <a:rect l="l" t="t" r="r" b="b"/>
                <a:pathLst>
                  <a:path w="2671536" h="1560490">
                    <a:moveTo>
                      <a:pt x="2671536" y="0"/>
                    </a:moveTo>
                    <a:lnTo>
                      <a:pt x="2671536" y="1560490"/>
                    </a:lnTo>
                    <a:lnTo>
                      <a:pt x="0" y="738383"/>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43" name="Freeform: Shape 68">
                <a:extLst>
                  <a:ext uri="{FF2B5EF4-FFF2-40B4-BE49-F238E27FC236}">
                    <a16:creationId xmlns:a16="http://schemas.microsoft.com/office/drawing/2014/main" id="{54069013-5A61-4E87-9A5F-0CC3F618132F}"/>
                  </a:ext>
                </a:extLst>
              </p:cNvPr>
              <p:cNvSpPr/>
              <p:nvPr/>
            </p:nvSpPr>
            <p:spPr>
              <a:xfrm>
                <a:off x="6102351" y="3638551"/>
                <a:ext cx="2671536" cy="1873250"/>
              </a:xfrm>
              <a:custGeom>
                <a:avLst/>
                <a:gdLst>
                  <a:gd name="connsiteX0" fmla="*/ 0 w 2671536"/>
                  <a:gd name="connsiteY0" fmla="*/ 0 h 1873250"/>
                  <a:gd name="connsiteX1" fmla="*/ 2671536 w 2671536"/>
                  <a:gd name="connsiteY1" fmla="*/ 822107 h 1873250"/>
                  <a:gd name="connsiteX2" fmla="*/ 2671536 w 2671536"/>
                  <a:gd name="connsiteY2" fmla="*/ 1873250 h 1873250"/>
                  <a:gd name="connsiteX3" fmla="*/ 1447868 w 2671536"/>
                  <a:gd name="connsiteY3" fmla="*/ 1873250 h 1873250"/>
                </a:gdLst>
                <a:ahLst/>
                <a:cxnLst>
                  <a:cxn ang="0">
                    <a:pos x="connsiteX0" y="connsiteY0"/>
                  </a:cxn>
                  <a:cxn ang="0">
                    <a:pos x="connsiteX1" y="connsiteY1"/>
                  </a:cxn>
                  <a:cxn ang="0">
                    <a:pos x="connsiteX2" y="connsiteY2"/>
                  </a:cxn>
                  <a:cxn ang="0">
                    <a:pos x="connsiteX3" y="connsiteY3"/>
                  </a:cxn>
                </a:cxnLst>
                <a:rect l="l" t="t" r="r" b="b"/>
                <a:pathLst>
                  <a:path w="2671536" h="1873250">
                    <a:moveTo>
                      <a:pt x="0" y="0"/>
                    </a:moveTo>
                    <a:lnTo>
                      <a:pt x="2671536" y="822107"/>
                    </a:lnTo>
                    <a:lnTo>
                      <a:pt x="2671536" y="1873250"/>
                    </a:lnTo>
                    <a:lnTo>
                      <a:pt x="1447868" y="1873250"/>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grpSp>
        <p:sp>
          <p:nvSpPr>
            <p:cNvPr id="33" name="Rectangle 32">
              <a:extLst>
                <a:ext uri="{FF2B5EF4-FFF2-40B4-BE49-F238E27FC236}">
                  <a16:creationId xmlns:a16="http://schemas.microsoft.com/office/drawing/2014/main" id="{7D395FC1-5322-4058-9BDB-5C2BAC477F0C}"/>
                </a:ext>
              </a:extLst>
            </p:cNvPr>
            <p:cNvSpPr/>
            <p:nvPr/>
          </p:nvSpPr>
          <p:spPr>
            <a:xfrm>
              <a:off x="2293308" y="1629419"/>
              <a:ext cx="187158" cy="2249339"/>
            </a:xfrm>
            <a:prstGeom prst="rect">
              <a:avLst/>
            </a:prstGeom>
            <a:solidFill>
              <a:schemeClr val="accent2">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100" b="1" dirty="0">
                  <a:solidFill>
                    <a:schemeClr val="accent1"/>
                  </a:solidFill>
                </a:rPr>
                <a:t>SOURCE</a:t>
              </a:r>
            </a:p>
          </p:txBody>
        </p:sp>
        <p:pic>
          <p:nvPicPr>
            <p:cNvPr id="34" name="Graphic 101" descr="Link">
              <a:extLst>
                <a:ext uri="{FF2B5EF4-FFF2-40B4-BE49-F238E27FC236}">
                  <a16:creationId xmlns:a16="http://schemas.microsoft.com/office/drawing/2014/main" id="{B0CB2DE0-70FE-444F-A299-CB2E3AB4B58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61365" y="3231206"/>
              <a:ext cx="441717" cy="441717"/>
            </a:xfrm>
            <a:prstGeom prst="rect">
              <a:avLst/>
            </a:prstGeom>
          </p:spPr>
        </p:pic>
        <p:sp>
          <p:nvSpPr>
            <p:cNvPr id="35" name="Freeform: Shape 128">
              <a:extLst>
                <a:ext uri="{FF2B5EF4-FFF2-40B4-BE49-F238E27FC236}">
                  <a16:creationId xmlns:a16="http://schemas.microsoft.com/office/drawing/2014/main" id="{393221E2-70A9-49AD-B96C-F938278A8AE2}"/>
                </a:ext>
              </a:extLst>
            </p:cNvPr>
            <p:cNvSpPr/>
            <p:nvPr/>
          </p:nvSpPr>
          <p:spPr>
            <a:xfrm>
              <a:off x="2732553" y="1814589"/>
              <a:ext cx="279311" cy="379063"/>
            </a:xfrm>
            <a:custGeom>
              <a:avLst/>
              <a:gdLst>
                <a:gd name="connsiteX0" fmla="*/ 411153 w 479678"/>
                <a:gd name="connsiteY0" fmla="*/ 548203 h 650991"/>
                <a:gd name="connsiteX1" fmla="*/ 394021 w 479678"/>
                <a:gd name="connsiteY1" fmla="*/ 565334 h 650991"/>
                <a:gd name="connsiteX2" fmla="*/ 411153 w 479678"/>
                <a:gd name="connsiteY2" fmla="*/ 582466 h 650991"/>
                <a:gd name="connsiteX3" fmla="*/ 428284 w 479678"/>
                <a:gd name="connsiteY3" fmla="*/ 565334 h 650991"/>
                <a:gd name="connsiteX4" fmla="*/ 411153 w 479678"/>
                <a:gd name="connsiteY4" fmla="*/ 548203 h 650991"/>
                <a:gd name="connsiteX5" fmla="*/ 0 w 479678"/>
                <a:gd name="connsiteY5" fmla="*/ 445414 h 650991"/>
                <a:gd name="connsiteX6" fmla="*/ 239839 w 479678"/>
                <a:gd name="connsiteY6" fmla="*/ 513939 h 650991"/>
                <a:gd name="connsiteX7" fmla="*/ 479678 w 479678"/>
                <a:gd name="connsiteY7" fmla="*/ 445414 h 650991"/>
                <a:gd name="connsiteX8" fmla="*/ 479678 w 479678"/>
                <a:gd name="connsiteY8" fmla="*/ 582466 h 650991"/>
                <a:gd name="connsiteX9" fmla="*/ 239839 w 479678"/>
                <a:gd name="connsiteY9" fmla="*/ 650991 h 650991"/>
                <a:gd name="connsiteX10" fmla="*/ 0 w 479678"/>
                <a:gd name="connsiteY10" fmla="*/ 582466 h 650991"/>
                <a:gd name="connsiteX11" fmla="*/ 411153 w 479678"/>
                <a:gd name="connsiteY11" fmla="*/ 376889 h 650991"/>
                <a:gd name="connsiteX12" fmla="*/ 394021 w 479678"/>
                <a:gd name="connsiteY12" fmla="*/ 394020 h 650991"/>
                <a:gd name="connsiteX13" fmla="*/ 411153 w 479678"/>
                <a:gd name="connsiteY13" fmla="*/ 411153 h 650991"/>
                <a:gd name="connsiteX14" fmla="*/ 428284 w 479678"/>
                <a:gd name="connsiteY14" fmla="*/ 394020 h 650991"/>
                <a:gd name="connsiteX15" fmla="*/ 411153 w 479678"/>
                <a:gd name="connsiteY15" fmla="*/ 376889 h 650991"/>
                <a:gd name="connsiteX16" fmla="*/ 0 w 479678"/>
                <a:gd name="connsiteY16" fmla="*/ 274101 h 650991"/>
                <a:gd name="connsiteX17" fmla="*/ 239839 w 479678"/>
                <a:gd name="connsiteY17" fmla="*/ 342626 h 650991"/>
                <a:gd name="connsiteX18" fmla="*/ 479678 w 479678"/>
                <a:gd name="connsiteY18" fmla="*/ 274101 h 650991"/>
                <a:gd name="connsiteX19" fmla="*/ 479678 w 479678"/>
                <a:gd name="connsiteY19" fmla="*/ 411153 h 650991"/>
                <a:gd name="connsiteX20" fmla="*/ 239839 w 479678"/>
                <a:gd name="connsiteY20" fmla="*/ 479678 h 650991"/>
                <a:gd name="connsiteX21" fmla="*/ 0 w 479678"/>
                <a:gd name="connsiteY21" fmla="*/ 411153 h 650991"/>
                <a:gd name="connsiteX22" fmla="*/ 411153 w 479678"/>
                <a:gd name="connsiteY22" fmla="*/ 205575 h 650991"/>
                <a:gd name="connsiteX23" fmla="*/ 394021 w 479678"/>
                <a:gd name="connsiteY23" fmla="*/ 222706 h 650991"/>
                <a:gd name="connsiteX24" fmla="*/ 411153 w 479678"/>
                <a:gd name="connsiteY24" fmla="*/ 239839 h 650991"/>
                <a:gd name="connsiteX25" fmla="*/ 428284 w 479678"/>
                <a:gd name="connsiteY25" fmla="*/ 222706 h 650991"/>
                <a:gd name="connsiteX26" fmla="*/ 411153 w 479678"/>
                <a:gd name="connsiteY26" fmla="*/ 205575 h 650991"/>
                <a:gd name="connsiteX27" fmla="*/ 0 w 479678"/>
                <a:gd name="connsiteY27" fmla="*/ 102787 h 650991"/>
                <a:gd name="connsiteX28" fmla="*/ 239839 w 479678"/>
                <a:gd name="connsiteY28" fmla="*/ 171312 h 650991"/>
                <a:gd name="connsiteX29" fmla="*/ 479678 w 479678"/>
                <a:gd name="connsiteY29" fmla="*/ 102787 h 650991"/>
                <a:gd name="connsiteX30" fmla="*/ 479678 w 479678"/>
                <a:gd name="connsiteY30" fmla="*/ 239839 h 650991"/>
                <a:gd name="connsiteX31" fmla="*/ 239839 w 479678"/>
                <a:gd name="connsiteY31" fmla="*/ 308364 h 650991"/>
                <a:gd name="connsiteX32" fmla="*/ 0 w 479678"/>
                <a:gd name="connsiteY32" fmla="*/ 239839 h 650991"/>
                <a:gd name="connsiteX33" fmla="*/ 239839 w 479678"/>
                <a:gd name="connsiteY33" fmla="*/ 0 h 650991"/>
                <a:gd name="connsiteX34" fmla="*/ 479678 w 479678"/>
                <a:gd name="connsiteY34" fmla="*/ 68525 h 650991"/>
                <a:gd name="connsiteX35" fmla="*/ 239839 w 479678"/>
                <a:gd name="connsiteY35" fmla="*/ 137052 h 650991"/>
                <a:gd name="connsiteX36" fmla="*/ 0 w 479678"/>
                <a:gd name="connsiteY36" fmla="*/ 68525 h 650991"/>
                <a:gd name="connsiteX37" fmla="*/ 239839 w 479678"/>
                <a:gd name="connsiteY37" fmla="*/ 0 h 65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79678" h="650991">
                  <a:moveTo>
                    <a:pt x="411153" y="548203"/>
                  </a:moveTo>
                  <a:cubicBezTo>
                    <a:pt x="400874" y="548203"/>
                    <a:pt x="394021" y="555055"/>
                    <a:pt x="394021" y="565334"/>
                  </a:cubicBezTo>
                  <a:cubicBezTo>
                    <a:pt x="394021" y="575613"/>
                    <a:pt x="400874" y="582466"/>
                    <a:pt x="411153" y="582466"/>
                  </a:cubicBezTo>
                  <a:cubicBezTo>
                    <a:pt x="421431" y="582466"/>
                    <a:pt x="428284" y="575613"/>
                    <a:pt x="428284" y="565334"/>
                  </a:cubicBezTo>
                  <a:cubicBezTo>
                    <a:pt x="428284" y="555055"/>
                    <a:pt x="421431" y="548203"/>
                    <a:pt x="411153" y="548203"/>
                  </a:cubicBezTo>
                  <a:close/>
                  <a:moveTo>
                    <a:pt x="0" y="445414"/>
                  </a:moveTo>
                  <a:cubicBezTo>
                    <a:pt x="0" y="483103"/>
                    <a:pt x="107927" y="513939"/>
                    <a:pt x="239839" y="513939"/>
                  </a:cubicBezTo>
                  <a:cubicBezTo>
                    <a:pt x="371751" y="513939"/>
                    <a:pt x="479678" y="483103"/>
                    <a:pt x="479678" y="445414"/>
                  </a:cubicBezTo>
                  <a:lnTo>
                    <a:pt x="479678" y="582466"/>
                  </a:lnTo>
                  <a:cubicBezTo>
                    <a:pt x="479678" y="620154"/>
                    <a:pt x="371751" y="650991"/>
                    <a:pt x="239839" y="650991"/>
                  </a:cubicBezTo>
                  <a:cubicBezTo>
                    <a:pt x="107927" y="650991"/>
                    <a:pt x="0" y="620154"/>
                    <a:pt x="0" y="582466"/>
                  </a:cubicBezTo>
                  <a:close/>
                  <a:moveTo>
                    <a:pt x="411153" y="376889"/>
                  </a:moveTo>
                  <a:cubicBezTo>
                    <a:pt x="400874" y="376889"/>
                    <a:pt x="394021" y="383741"/>
                    <a:pt x="394021" y="394020"/>
                  </a:cubicBezTo>
                  <a:cubicBezTo>
                    <a:pt x="394021" y="404300"/>
                    <a:pt x="400874" y="411153"/>
                    <a:pt x="411153" y="411153"/>
                  </a:cubicBezTo>
                  <a:cubicBezTo>
                    <a:pt x="421431" y="411153"/>
                    <a:pt x="428284" y="404300"/>
                    <a:pt x="428284" y="394020"/>
                  </a:cubicBezTo>
                  <a:cubicBezTo>
                    <a:pt x="428284" y="383741"/>
                    <a:pt x="421431" y="376889"/>
                    <a:pt x="411153" y="376889"/>
                  </a:cubicBezTo>
                  <a:close/>
                  <a:moveTo>
                    <a:pt x="0" y="274101"/>
                  </a:moveTo>
                  <a:cubicBezTo>
                    <a:pt x="0" y="311790"/>
                    <a:pt x="107927" y="342626"/>
                    <a:pt x="239839" y="342626"/>
                  </a:cubicBezTo>
                  <a:cubicBezTo>
                    <a:pt x="371751" y="342626"/>
                    <a:pt x="479678" y="311790"/>
                    <a:pt x="479678" y="274101"/>
                  </a:cubicBezTo>
                  <a:lnTo>
                    <a:pt x="479678" y="411153"/>
                  </a:lnTo>
                  <a:cubicBezTo>
                    <a:pt x="479678" y="448841"/>
                    <a:pt x="371751" y="479678"/>
                    <a:pt x="239839" y="479678"/>
                  </a:cubicBezTo>
                  <a:cubicBezTo>
                    <a:pt x="107927" y="479678"/>
                    <a:pt x="0" y="448841"/>
                    <a:pt x="0" y="411153"/>
                  </a:cubicBezTo>
                  <a:close/>
                  <a:moveTo>
                    <a:pt x="411153" y="205575"/>
                  </a:moveTo>
                  <a:cubicBezTo>
                    <a:pt x="400874" y="205575"/>
                    <a:pt x="394021" y="212427"/>
                    <a:pt x="394021" y="222706"/>
                  </a:cubicBezTo>
                  <a:cubicBezTo>
                    <a:pt x="394021" y="232986"/>
                    <a:pt x="400874" y="239839"/>
                    <a:pt x="411153" y="239839"/>
                  </a:cubicBezTo>
                  <a:cubicBezTo>
                    <a:pt x="421431" y="239839"/>
                    <a:pt x="428284" y="232986"/>
                    <a:pt x="428284" y="222706"/>
                  </a:cubicBezTo>
                  <a:cubicBezTo>
                    <a:pt x="428284" y="212427"/>
                    <a:pt x="421431" y="205575"/>
                    <a:pt x="411153" y="205575"/>
                  </a:cubicBezTo>
                  <a:close/>
                  <a:moveTo>
                    <a:pt x="0" y="102787"/>
                  </a:moveTo>
                  <a:cubicBezTo>
                    <a:pt x="0" y="140476"/>
                    <a:pt x="107927" y="171312"/>
                    <a:pt x="239839" y="171312"/>
                  </a:cubicBezTo>
                  <a:cubicBezTo>
                    <a:pt x="371751" y="171312"/>
                    <a:pt x="479678" y="140476"/>
                    <a:pt x="479678" y="102787"/>
                  </a:cubicBezTo>
                  <a:lnTo>
                    <a:pt x="479678" y="239839"/>
                  </a:lnTo>
                  <a:cubicBezTo>
                    <a:pt x="479678" y="277527"/>
                    <a:pt x="371751" y="308364"/>
                    <a:pt x="239839" y="308364"/>
                  </a:cubicBezTo>
                  <a:cubicBezTo>
                    <a:pt x="107927" y="308364"/>
                    <a:pt x="0" y="277527"/>
                    <a:pt x="0" y="239839"/>
                  </a:cubicBezTo>
                  <a:close/>
                  <a:moveTo>
                    <a:pt x="239839" y="0"/>
                  </a:moveTo>
                  <a:cubicBezTo>
                    <a:pt x="372298" y="0"/>
                    <a:pt x="479678" y="30680"/>
                    <a:pt x="479678" y="68525"/>
                  </a:cubicBezTo>
                  <a:cubicBezTo>
                    <a:pt x="479678" y="106372"/>
                    <a:pt x="372298" y="137052"/>
                    <a:pt x="239839" y="137052"/>
                  </a:cubicBezTo>
                  <a:cubicBezTo>
                    <a:pt x="107379" y="137052"/>
                    <a:pt x="0" y="106372"/>
                    <a:pt x="0" y="68525"/>
                  </a:cubicBezTo>
                  <a:cubicBezTo>
                    <a:pt x="0" y="30680"/>
                    <a:pt x="107379" y="0"/>
                    <a:pt x="239839" y="0"/>
                  </a:cubicBezTo>
                  <a:close/>
                </a:path>
              </a:pathLst>
            </a:custGeom>
            <a:solidFill>
              <a:schemeClr val="accent1">
                <a:alpha val="70000"/>
              </a:schemeClr>
            </a:solidFill>
            <a:ln w="8533"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350"/>
            </a:p>
          </p:txBody>
        </p:sp>
        <p:pic>
          <p:nvPicPr>
            <p:cNvPr id="36" name="Graphic 9" descr="Download from cloud">
              <a:extLst>
                <a:ext uri="{FF2B5EF4-FFF2-40B4-BE49-F238E27FC236}">
                  <a16:creationId xmlns:a16="http://schemas.microsoft.com/office/drawing/2014/main" id="{0FD59F13-46DC-4953-8FBB-5FCC48A97959}"/>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651351" y="2532020"/>
              <a:ext cx="451731" cy="451731"/>
            </a:xfrm>
            <a:prstGeom prst="rect">
              <a:avLst/>
            </a:prstGeom>
          </p:spPr>
        </p:pic>
        <p:sp>
          <p:nvSpPr>
            <p:cNvPr id="37" name="Freeform: Shape 128">
              <a:extLst>
                <a:ext uri="{FF2B5EF4-FFF2-40B4-BE49-F238E27FC236}">
                  <a16:creationId xmlns:a16="http://schemas.microsoft.com/office/drawing/2014/main" id="{78B9E09E-8F10-426E-85D0-2F3544F1D5C8}"/>
                </a:ext>
              </a:extLst>
            </p:cNvPr>
            <p:cNvSpPr/>
            <p:nvPr/>
          </p:nvSpPr>
          <p:spPr>
            <a:xfrm>
              <a:off x="6162626" y="1817163"/>
              <a:ext cx="279311" cy="379063"/>
            </a:xfrm>
            <a:custGeom>
              <a:avLst/>
              <a:gdLst>
                <a:gd name="connsiteX0" fmla="*/ 411153 w 479678"/>
                <a:gd name="connsiteY0" fmla="*/ 548203 h 650991"/>
                <a:gd name="connsiteX1" fmla="*/ 394021 w 479678"/>
                <a:gd name="connsiteY1" fmla="*/ 565334 h 650991"/>
                <a:gd name="connsiteX2" fmla="*/ 411153 w 479678"/>
                <a:gd name="connsiteY2" fmla="*/ 582466 h 650991"/>
                <a:gd name="connsiteX3" fmla="*/ 428284 w 479678"/>
                <a:gd name="connsiteY3" fmla="*/ 565334 h 650991"/>
                <a:gd name="connsiteX4" fmla="*/ 411153 w 479678"/>
                <a:gd name="connsiteY4" fmla="*/ 548203 h 650991"/>
                <a:gd name="connsiteX5" fmla="*/ 0 w 479678"/>
                <a:gd name="connsiteY5" fmla="*/ 445414 h 650991"/>
                <a:gd name="connsiteX6" fmla="*/ 239839 w 479678"/>
                <a:gd name="connsiteY6" fmla="*/ 513939 h 650991"/>
                <a:gd name="connsiteX7" fmla="*/ 479678 w 479678"/>
                <a:gd name="connsiteY7" fmla="*/ 445414 h 650991"/>
                <a:gd name="connsiteX8" fmla="*/ 479678 w 479678"/>
                <a:gd name="connsiteY8" fmla="*/ 582466 h 650991"/>
                <a:gd name="connsiteX9" fmla="*/ 239839 w 479678"/>
                <a:gd name="connsiteY9" fmla="*/ 650991 h 650991"/>
                <a:gd name="connsiteX10" fmla="*/ 0 w 479678"/>
                <a:gd name="connsiteY10" fmla="*/ 582466 h 650991"/>
                <a:gd name="connsiteX11" fmla="*/ 411153 w 479678"/>
                <a:gd name="connsiteY11" fmla="*/ 376889 h 650991"/>
                <a:gd name="connsiteX12" fmla="*/ 394021 w 479678"/>
                <a:gd name="connsiteY12" fmla="*/ 394020 h 650991"/>
                <a:gd name="connsiteX13" fmla="*/ 411153 w 479678"/>
                <a:gd name="connsiteY13" fmla="*/ 411153 h 650991"/>
                <a:gd name="connsiteX14" fmla="*/ 428284 w 479678"/>
                <a:gd name="connsiteY14" fmla="*/ 394020 h 650991"/>
                <a:gd name="connsiteX15" fmla="*/ 411153 w 479678"/>
                <a:gd name="connsiteY15" fmla="*/ 376889 h 650991"/>
                <a:gd name="connsiteX16" fmla="*/ 0 w 479678"/>
                <a:gd name="connsiteY16" fmla="*/ 274101 h 650991"/>
                <a:gd name="connsiteX17" fmla="*/ 239839 w 479678"/>
                <a:gd name="connsiteY17" fmla="*/ 342626 h 650991"/>
                <a:gd name="connsiteX18" fmla="*/ 479678 w 479678"/>
                <a:gd name="connsiteY18" fmla="*/ 274101 h 650991"/>
                <a:gd name="connsiteX19" fmla="*/ 479678 w 479678"/>
                <a:gd name="connsiteY19" fmla="*/ 411153 h 650991"/>
                <a:gd name="connsiteX20" fmla="*/ 239839 w 479678"/>
                <a:gd name="connsiteY20" fmla="*/ 479678 h 650991"/>
                <a:gd name="connsiteX21" fmla="*/ 0 w 479678"/>
                <a:gd name="connsiteY21" fmla="*/ 411153 h 650991"/>
                <a:gd name="connsiteX22" fmla="*/ 411153 w 479678"/>
                <a:gd name="connsiteY22" fmla="*/ 205575 h 650991"/>
                <a:gd name="connsiteX23" fmla="*/ 394021 w 479678"/>
                <a:gd name="connsiteY23" fmla="*/ 222706 h 650991"/>
                <a:gd name="connsiteX24" fmla="*/ 411153 w 479678"/>
                <a:gd name="connsiteY24" fmla="*/ 239839 h 650991"/>
                <a:gd name="connsiteX25" fmla="*/ 428284 w 479678"/>
                <a:gd name="connsiteY25" fmla="*/ 222706 h 650991"/>
                <a:gd name="connsiteX26" fmla="*/ 411153 w 479678"/>
                <a:gd name="connsiteY26" fmla="*/ 205575 h 650991"/>
                <a:gd name="connsiteX27" fmla="*/ 0 w 479678"/>
                <a:gd name="connsiteY27" fmla="*/ 102787 h 650991"/>
                <a:gd name="connsiteX28" fmla="*/ 239839 w 479678"/>
                <a:gd name="connsiteY28" fmla="*/ 171312 h 650991"/>
                <a:gd name="connsiteX29" fmla="*/ 479678 w 479678"/>
                <a:gd name="connsiteY29" fmla="*/ 102787 h 650991"/>
                <a:gd name="connsiteX30" fmla="*/ 479678 w 479678"/>
                <a:gd name="connsiteY30" fmla="*/ 239839 h 650991"/>
                <a:gd name="connsiteX31" fmla="*/ 239839 w 479678"/>
                <a:gd name="connsiteY31" fmla="*/ 308364 h 650991"/>
                <a:gd name="connsiteX32" fmla="*/ 0 w 479678"/>
                <a:gd name="connsiteY32" fmla="*/ 239839 h 650991"/>
                <a:gd name="connsiteX33" fmla="*/ 239839 w 479678"/>
                <a:gd name="connsiteY33" fmla="*/ 0 h 650991"/>
                <a:gd name="connsiteX34" fmla="*/ 479678 w 479678"/>
                <a:gd name="connsiteY34" fmla="*/ 68525 h 650991"/>
                <a:gd name="connsiteX35" fmla="*/ 239839 w 479678"/>
                <a:gd name="connsiteY35" fmla="*/ 137052 h 650991"/>
                <a:gd name="connsiteX36" fmla="*/ 0 w 479678"/>
                <a:gd name="connsiteY36" fmla="*/ 68525 h 650991"/>
                <a:gd name="connsiteX37" fmla="*/ 239839 w 479678"/>
                <a:gd name="connsiteY37" fmla="*/ 0 h 65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79678" h="650991">
                  <a:moveTo>
                    <a:pt x="411153" y="548203"/>
                  </a:moveTo>
                  <a:cubicBezTo>
                    <a:pt x="400874" y="548203"/>
                    <a:pt x="394021" y="555055"/>
                    <a:pt x="394021" y="565334"/>
                  </a:cubicBezTo>
                  <a:cubicBezTo>
                    <a:pt x="394021" y="575613"/>
                    <a:pt x="400874" y="582466"/>
                    <a:pt x="411153" y="582466"/>
                  </a:cubicBezTo>
                  <a:cubicBezTo>
                    <a:pt x="421431" y="582466"/>
                    <a:pt x="428284" y="575613"/>
                    <a:pt x="428284" y="565334"/>
                  </a:cubicBezTo>
                  <a:cubicBezTo>
                    <a:pt x="428284" y="555055"/>
                    <a:pt x="421431" y="548203"/>
                    <a:pt x="411153" y="548203"/>
                  </a:cubicBezTo>
                  <a:close/>
                  <a:moveTo>
                    <a:pt x="0" y="445414"/>
                  </a:moveTo>
                  <a:cubicBezTo>
                    <a:pt x="0" y="483103"/>
                    <a:pt x="107927" y="513939"/>
                    <a:pt x="239839" y="513939"/>
                  </a:cubicBezTo>
                  <a:cubicBezTo>
                    <a:pt x="371751" y="513939"/>
                    <a:pt x="479678" y="483103"/>
                    <a:pt x="479678" y="445414"/>
                  </a:cubicBezTo>
                  <a:lnTo>
                    <a:pt x="479678" y="582466"/>
                  </a:lnTo>
                  <a:cubicBezTo>
                    <a:pt x="479678" y="620154"/>
                    <a:pt x="371751" y="650991"/>
                    <a:pt x="239839" y="650991"/>
                  </a:cubicBezTo>
                  <a:cubicBezTo>
                    <a:pt x="107927" y="650991"/>
                    <a:pt x="0" y="620154"/>
                    <a:pt x="0" y="582466"/>
                  </a:cubicBezTo>
                  <a:close/>
                  <a:moveTo>
                    <a:pt x="411153" y="376889"/>
                  </a:moveTo>
                  <a:cubicBezTo>
                    <a:pt x="400874" y="376889"/>
                    <a:pt x="394021" y="383741"/>
                    <a:pt x="394021" y="394020"/>
                  </a:cubicBezTo>
                  <a:cubicBezTo>
                    <a:pt x="394021" y="404300"/>
                    <a:pt x="400874" y="411153"/>
                    <a:pt x="411153" y="411153"/>
                  </a:cubicBezTo>
                  <a:cubicBezTo>
                    <a:pt x="421431" y="411153"/>
                    <a:pt x="428284" y="404300"/>
                    <a:pt x="428284" y="394020"/>
                  </a:cubicBezTo>
                  <a:cubicBezTo>
                    <a:pt x="428284" y="383741"/>
                    <a:pt x="421431" y="376889"/>
                    <a:pt x="411153" y="376889"/>
                  </a:cubicBezTo>
                  <a:close/>
                  <a:moveTo>
                    <a:pt x="0" y="274101"/>
                  </a:moveTo>
                  <a:cubicBezTo>
                    <a:pt x="0" y="311790"/>
                    <a:pt x="107927" y="342626"/>
                    <a:pt x="239839" y="342626"/>
                  </a:cubicBezTo>
                  <a:cubicBezTo>
                    <a:pt x="371751" y="342626"/>
                    <a:pt x="479678" y="311790"/>
                    <a:pt x="479678" y="274101"/>
                  </a:cubicBezTo>
                  <a:lnTo>
                    <a:pt x="479678" y="411153"/>
                  </a:lnTo>
                  <a:cubicBezTo>
                    <a:pt x="479678" y="448841"/>
                    <a:pt x="371751" y="479678"/>
                    <a:pt x="239839" y="479678"/>
                  </a:cubicBezTo>
                  <a:cubicBezTo>
                    <a:pt x="107927" y="479678"/>
                    <a:pt x="0" y="448841"/>
                    <a:pt x="0" y="411153"/>
                  </a:cubicBezTo>
                  <a:close/>
                  <a:moveTo>
                    <a:pt x="411153" y="205575"/>
                  </a:moveTo>
                  <a:cubicBezTo>
                    <a:pt x="400874" y="205575"/>
                    <a:pt x="394021" y="212427"/>
                    <a:pt x="394021" y="222706"/>
                  </a:cubicBezTo>
                  <a:cubicBezTo>
                    <a:pt x="394021" y="232986"/>
                    <a:pt x="400874" y="239839"/>
                    <a:pt x="411153" y="239839"/>
                  </a:cubicBezTo>
                  <a:cubicBezTo>
                    <a:pt x="421431" y="239839"/>
                    <a:pt x="428284" y="232986"/>
                    <a:pt x="428284" y="222706"/>
                  </a:cubicBezTo>
                  <a:cubicBezTo>
                    <a:pt x="428284" y="212427"/>
                    <a:pt x="421431" y="205575"/>
                    <a:pt x="411153" y="205575"/>
                  </a:cubicBezTo>
                  <a:close/>
                  <a:moveTo>
                    <a:pt x="0" y="102787"/>
                  </a:moveTo>
                  <a:cubicBezTo>
                    <a:pt x="0" y="140476"/>
                    <a:pt x="107927" y="171312"/>
                    <a:pt x="239839" y="171312"/>
                  </a:cubicBezTo>
                  <a:cubicBezTo>
                    <a:pt x="371751" y="171312"/>
                    <a:pt x="479678" y="140476"/>
                    <a:pt x="479678" y="102787"/>
                  </a:cubicBezTo>
                  <a:lnTo>
                    <a:pt x="479678" y="239839"/>
                  </a:lnTo>
                  <a:cubicBezTo>
                    <a:pt x="479678" y="277527"/>
                    <a:pt x="371751" y="308364"/>
                    <a:pt x="239839" y="308364"/>
                  </a:cubicBezTo>
                  <a:cubicBezTo>
                    <a:pt x="107927" y="308364"/>
                    <a:pt x="0" y="277527"/>
                    <a:pt x="0" y="239839"/>
                  </a:cubicBezTo>
                  <a:close/>
                  <a:moveTo>
                    <a:pt x="239839" y="0"/>
                  </a:moveTo>
                  <a:cubicBezTo>
                    <a:pt x="372298" y="0"/>
                    <a:pt x="479678" y="30680"/>
                    <a:pt x="479678" y="68525"/>
                  </a:cubicBezTo>
                  <a:cubicBezTo>
                    <a:pt x="479678" y="106372"/>
                    <a:pt x="372298" y="137052"/>
                    <a:pt x="239839" y="137052"/>
                  </a:cubicBezTo>
                  <a:cubicBezTo>
                    <a:pt x="107379" y="137052"/>
                    <a:pt x="0" y="106372"/>
                    <a:pt x="0" y="68525"/>
                  </a:cubicBezTo>
                  <a:cubicBezTo>
                    <a:pt x="0" y="30680"/>
                    <a:pt x="107379" y="0"/>
                    <a:pt x="239839" y="0"/>
                  </a:cubicBezTo>
                  <a:close/>
                </a:path>
              </a:pathLst>
            </a:custGeom>
            <a:solidFill>
              <a:schemeClr val="accent1">
                <a:alpha val="70000"/>
              </a:schemeClr>
            </a:solidFill>
            <a:ln w="8533"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350"/>
            </a:p>
          </p:txBody>
        </p:sp>
        <p:pic>
          <p:nvPicPr>
            <p:cNvPr id="38" name="Graphic 9" descr="Download from cloud">
              <a:extLst>
                <a:ext uri="{FF2B5EF4-FFF2-40B4-BE49-F238E27FC236}">
                  <a16:creationId xmlns:a16="http://schemas.microsoft.com/office/drawing/2014/main" id="{FAF90D37-86A5-40D8-888C-AEF30DA62425}"/>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076415" y="2515731"/>
              <a:ext cx="451731" cy="451731"/>
            </a:xfrm>
            <a:prstGeom prst="rect">
              <a:avLst/>
            </a:prstGeom>
          </p:spPr>
        </p:pic>
        <p:sp>
          <p:nvSpPr>
            <p:cNvPr id="39" name="Rectangle 38">
              <a:extLst>
                <a:ext uri="{FF2B5EF4-FFF2-40B4-BE49-F238E27FC236}">
                  <a16:creationId xmlns:a16="http://schemas.microsoft.com/office/drawing/2014/main" id="{F8019D54-6C31-46BD-A525-8059A6EF2C1D}"/>
                </a:ext>
              </a:extLst>
            </p:cNvPr>
            <p:cNvSpPr/>
            <p:nvPr/>
          </p:nvSpPr>
          <p:spPr>
            <a:xfrm>
              <a:off x="6799980" y="1625619"/>
              <a:ext cx="187661" cy="2249338"/>
            </a:xfrm>
            <a:prstGeom prst="rect">
              <a:avLst/>
            </a:prstGeom>
            <a:solidFill>
              <a:schemeClr val="accent2">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100" b="1" dirty="0">
                  <a:solidFill>
                    <a:schemeClr val="accent1"/>
                  </a:solidFill>
                </a:rPr>
                <a:t>SINK</a:t>
              </a:r>
            </a:p>
          </p:txBody>
        </p:sp>
        <p:pic>
          <p:nvPicPr>
            <p:cNvPr id="40" name="Graphic 101" descr="Link">
              <a:extLst>
                <a:ext uri="{FF2B5EF4-FFF2-40B4-BE49-F238E27FC236}">
                  <a16:creationId xmlns:a16="http://schemas.microsoft.com/office/drawing/2014/main" id="{BE75B60C-DC16-45B1-8EDD-DECCBD56F37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76415" y="3228600"/>
              <a:ext cx="441717" cy="441717"/>
            </a:xfrm>
            <a:prstGeom prst="rect">
              <a:avLst/>
            </a:prstGeom>
          </p:spPr>
        </p:pic>
      </p:grpSp>
      <p:sp>
        <p:nvSpPr>
          <p:cNvPr id="47" name="Rectangle 1">
            <a:extLst>
              <a:ext uri="{FF2B5EF4-FFF2-40B4-BE49-F238E27FC236}">
                <a16:creationId xmlns:a16="http://schemas.microsoft.com/office/drawing/2014/main" id="{D70AF948-3396-4290-B640-B850F17891B0}"/>
              </a:ext>
            </a:extLst>
          </p:cNvPr>
          <p:cNvSpPr>
            <a:spLocks noChangeArrowheads="1"/>
          </p:cNvSpPr>
          <p:nvPr/>
        </p:nvSpPr>
        <p:spPr bwMode="auto">
          <a:xfrm>
            <a:off x="370966" y="2236313"/>
            <a:ext cx="1237319" cy="735740"/>
          </a:xfrm>
          <a:prstGeom prst="rect">
            <a:avLst/>
          </a:prstGeom>
          <a:noFill/>
          <a:ln>
            <a:noFill/>
          </a:ln>
          <a:effectLst/>
        </p:spPr>
        <p:txBody>
          <a:bodyPr vert="horz" wrap="square" lIns="0" tIns="0" rIns="0" bIns="119025"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i="0" u="none" strike="noStrike" cap="none" normalizeH="0" baseline="0" dirty="0">
                <a:ln>
                  <a:noFill/>
                </a:ln>
                <a:effectLst/>
              </a:rPr>
              <a:t>A</a:t>
            </a:r>
            <a:r>
              <a:rPr kumimoji="0" lang="en-US" altLang="en-US" sz="1000" b="1" i="0" u="none" strike="noStrike" cap="none" normalizeH="0" baseline="0" dirty="0">
                <a:ln>
                  <a:noFill/>
                </a:ln>
                <a:solidFill>
                  <a:schemeClr val="accent1"/>
                </a:solidFill>
                <a:effectLst/>
              </a:rPr>
              <a:t> Source Connector</a:t>
            </a:r>
          </a:p>
          <a:p>
            <a:pPr indent="-457200" eaLnBrk="0" fontAlgn="base" hangingPunct="0">
              <a:spcBef>
                <a:spcPct val="0"/>
              </a:spcBef>
              <a:spcAft>
                <a:spcPct val="0"/>
              </a:spcAft>
            </a:pPr>
            <a:r>
              <a:rPr kumimoji="0" lang="en-US" altLang="en-US" sz="1000" b="0" i="0" u="none" strike="noStrike" cap="none" normalizeH="0" baseline="0" dirty="0">
                <a:ln>
                  <a:noFill/>
                </a:ln>
                <a:solidFill>
                  <a:schemeClr val="accent2"/>
                </a:solidFill>
                <a:effectLst/>
              </a:rPr>
              <a:t>ingests</a:t>
            </a:r>
            <a:r>
              <a:rPr kumimoji="0" lang="en-US" altLang="en-US" sz="1000" b="0" i="0" u="none" strike="noStrike" cap="none" normalizeH="0" baseline="0" dirty="0">
                <a:ln>
                  <a:noFill/>
                </a:ln>
                <a:solidFill>
                  <a:srgbClr val="4A4A4A"/>
                </a:solidFill>
                <a:effectLst/>
              </a:rPr>
              <a:t> data from different sources to Kafka topics. </a:t>
            </a:r>
            <a:endParaRPr kumimoji="0" lang="en-US" altLang="en-US" b="0" i="0" u="none" strike="noStrike" cap="none" normalizeH="0" baseline="0" dirty="0">
              <a:ln>
                <a:noFill/>
              </a:ln>
              <a:solidFill>
                <a:schemeClr val="tx1"/>
              </a:solidFill>
              <a:effectLst/>
            </a:endParaRPr>
          </a:p>
        </p:txBody>
      </p:sp>
      <p:sp>
        <p:nvSpPr>
          <p:cNvPr id="48" name="Rectangle 1">
            <a:extLst>
              <a:ext uri="{FF2B5EF4-FFF2-40B4-BE49-F238E27FC236}">
                <a16:creationId xmlns:a16="http://schemas.microsoft.com/office/drawing/2014/main" id="{44A2350A-D6CE-4C3E-BC41-12A0C4A719B1}"/>
              </a:ext>
            </a:extLst>
          </p:cNvPr>
          <p:cNvSpPr>
            <a:spLocks noChangeArrowheads="1"/>
          </p:cNvSpPr>
          <p:nvPr/>
        </p:nvSpPr>
        <p:spPr bwMode="auto">
          <a:xfrm>
            <a:off x="7590613" y="2240998"/>
            <a:ext cx="1146403" cy="735740"/>
          </a:xfrm>
          <a:prstGeom prst="rect">
            <a:avLst/>
          </a:prstGeom>
          <a:noFill/>
          <a:ln>
            <a:noFill/>
          </a:ln>
          <a:effectLst/>
        </p:spPr>
        <p:txBody>
          <a:bodyPr vert="horz" wrap="square" lIns="0" tIns="0" rIns="0" bIns="119025" numCol="1" anchor="ctr" anchorCtr="0" compatLnSpc="1">
            <a:prstTxWarp prst="textNoShape">
              <a:avLst/>
            </a:prstTxWarp>
            <a:spAutoFit/>
          </a:bodyPr>
          <a:lstStyle/>
          <a:p>
            <a:pPr lvl="0" eaLnBrk="0" fontAlgn="base" hangingPunct="0">
              <a:spcBef>
                <a:spcPct val="0"/>
              </a:spcBef>
              <a:spcAft>
                <a:spcPct val="0"/>
              </a:spcAft>
            </a:pPr>
            <a:r>
              <a:rPr lang="en-GB" sz="1000" dirty="0"/>
              <a:t>A </a:t>
            </a:r>
            <a:r>
              <a:rPr lang="en-GB" sz="1000" b="1" dirty="0">
                <a:solidFill>
                  <a:schemeClr val="accent1"/>
                </a:solidFill>
              </a:rPr>
              <a:t>Sink connector </a:t>
            </a:r>
            <a:r>
              <a:rPr lang="en-GB" sz="1000" dirty="0">
                <a:solidFill>
                  <a:schemeClr val="accent2"/>
                </a:solidFill>
              </a:rPr>
              <a:t>delivers</a:t>
            </a:r>
            <a:r>
              <a:rPr lang="en-GB" sz="1000" dirty="0"/>
              <a:t> data from Kafka topics into 3th party systems.</a:t>
            </a:r>
            <a:endParaRPr kumimoji="0" lang="en-US" altLang="en-US" sz="1000" b="0" i="0" u="none" strike="noStrike" cap="none" normalizeH="0" baseline="0" dirty="0">
              <a:ln>
                <a:noFill/>
              </a:ln>
              <a:solidFill>
                <a:schemeClr val="tx1"/>
              </a:solidFill>
              <a:effectLst/>
            </a:endParaRPr>
          </a:p>
        </p:txBody>
      </p:sp>
      <p:sp>
        <p:nvSpPr>
          <p:cNvPr id="49" name="Rectangle 48">
            <a:extLst>
              <a:ext uri="{FF2B5EF4-FFF2-40B4-BE49-F238E27FC236}">
                <a16:creationId xmlns:a16="http://schemas.microsoft.com/office/drawing/2014/main" id="{532FCD7D-CB1A-4448-AC83-39C11038F463}"/>
              </a:ext>
            </a:extLst>
          </p:cNvPr>
          <p:cNvSpPr/>
          <p:nvPr/>
        </p:nvSpPr>
        <p:spPr>
          <a:xfrm>
            <a:off x="1702975" y="3778680"/>
            <a:ext cx="5821389" cy="1223412"/>
          </a:xfrm>
          <a:prstGeom prst="rect">
            <a:avLst/>
          </a:prstGeom>
        </p:spPr>
        <p:txBody>
          <a:bodyPr wrap="square">
            <a:spAutoFit/>
          </a:bodyPr>
          <a:lstStyle/>
          <a:p>
            <a:pPr marL="171450" indent="-171450">
              <a:buFont typeface="Arial" panose="020B0604020202020204" pitchFamily="34" charset="0"/>
              <a:buChar char="•"/>
            </a:pPr>
            <a:r>
              <a:rPr lang="en-GB" sz="1050" b="1" dirty="0">
                <a:solidFill>
                  <a:schemeClr val="accent1"/>
                </a:solidFill>
              </a:rPr>
              <a:t>Data Centric Pipeline</a:t>
            </a:r>
            <a:r>
              <a:rPr lang="en-GB" sz="1050" dirty="0"/>
              <a:t>: use meaningful data abstractions to pull or push data to Kafka.</a:t>
            </a:r>
          </a:p>
          <a:p>
            <a:pPr marL="171450" indent="-171450">
              <a:buFont typeface="Arial" panose="020B0604020202020204" pitchFamily="34" charset="0"/>
              <a:buChar char="•"/>
            </a:pPr>
            <a:r>
              <a:rPr lang="en-GB" sz="1050" b="1" dirty="0">
                <a:solidFill>
                  <a:schemeClr val="accent1"/>
                </a:solidFill>
              </a:rPr>
              <a:t>Flexibility and Scalability: </a:t>
            </a:r>
            <a:r>
              <a:rPr lang="en-GB" sz="1050" dirty="0"/>
              <a:t>run with streaming and batch-oriented systems on a single node or scaled to an organization-wide service.</a:t>
            </a:r>
          </a:p>
          <a:p>
            <a:pPr marL="171450" indent="-171450">
              <a:buFont typeface="Arial" panose="020B0604020202020204" pitchFamily="34" charset="0"/>
              <a:buChar char="•"/>
            </a:pPr>
            <a:r>
              <a:rPr lang="en-GB" sz="1050" b="1" dirty="0">
                <a:solidFill>
                  <a:schemeClr val="accent1"/>
                </a:solidFill>
              </a:rPr>
              <a:t>Reusability and Extensibility: </a:t>
            </a:r>
            <a:r>
              <a:rPr lang="en-GB" sz="1050" dirty="0"/>
              <a:t>leverage existing connectors or extend them to tailor to your needs and lower time to production.</a:t>
            </a:r>
          </a:p>
          <a:p>
            <a:pPr marL="171450" indent="-171450">
              <a:buFont typeface="Arial" panose="020B0604020202020204" pitchFamily="34" charset="0"/>
              <a:buChar char="•"/>
            </a:pPr>
            <a:r>
              <a:rPr lang="en-GB" sz="1050" dirty="0"/>
              <a:t>Kafka Connect </a:t>
            </a:r>
            <a:r>
              <a:rPr lang="en-GB" sz="1050" b="1" dirty="0">
                <a:solidFill>
                  <a:schemeClr val="accent1"/>
                </a:solidFill>
              </a:rPr>
              <a:t>runs as a cluster </a:t>
            </a:r>
            <a:r>
              <a:rPr lang="en-GB" sz="1050" dirty="0"/>
              <a:t>of worker processes</a:t>
            </a:r>
          </a:p>
          <a:p>
            <a:pPr marL="171450" indent="-171450">
              <a:buFont typeface="Arial" panose="020B0604020202020204" pitchFamily="34" charset="0"/>
              <a:buChar char="•"/>
            </a:pPr>
            <a:endParaRPr lang="en-GB" sz="1050" dirty="0"/>
          </a:p>
        </p:txBody>
      </p:sp>
      <p:grpSp>
        <p:nvGrpSpPr>
          <p:cNvPr id="50" name="Group 49">
            <a:extLst>
              <a:ext uri="{FF2B5EF4-FFF2-40B4-BE49-F238E27FC236}">
                <a16:creationId xmlns:a16="http://schemas.microsoft.com/office/drawing/2014/main" id="{A8537D39-AE9B-42B1-8BBC-D4BA372E8FBB}"/>
              </a:ext>
            </a:extLst>
          </p:cNvPr>
          <p:cNvGrpSpPr/>
          <p:nvPr/>
        </p:nvGrpSpPr>
        <p:grpSpPr>
          <a:xfrm>
            <a:off x="3891598" y="1567041"/>
            <a:ext cx="1449086" cy="1680938"/>
            <a:chOff x="3905112" y="652216"/>
            <a:chExt cx="1449086" cy="1680938"/>
          </a:xfrm>
        </p:grpSpPr>
        <p:grpSp>
          <p:nvGrpSpPr>
            <p:cNvPr id="51" name="Group 50">
              <a:extLst>
                <a:ext uri="{FF2B5EF4-FFF2-40B4-BE49-F238E27FC236}">
                  <a16:creationId xmlns:a16="http://schemas.microsoft.com/office/drawing/2014/main" id="{D5F9A6F4-57EA-4F26-9325-BBBAD7BDF174}"/>
                </a:ext>
              </a:extLst>
            </p:cNvPr>
            <p:cNvGrpSpPr/>
            <p:nvPr/>
          </p:nvGrpSpPr>
          <p:grpSpPr>
            <a:xfrm>
              <a:off x="3905112" y="652216"/>
              <a:ext cx="1449086" cy="1680938"/>
              <a:chOff x="7231711" y="1052713"/>
              <a:chExt cx="1144680" cy="1327828"/>
            </a:xfrm>
          </p:grpSpPr>
          <p:sp>
            <p:nvSpPr>
              <p:cNvPr id="53" name="Hexagon 52">
                <a:extLst>
                  <a:ext uri="{FF2B5EF4-FFF2-40B4-BE49-F238E27FC236}">
                    <a16:creationId xmlns:a16="http://schemas.microsoft.com/office/drawing/2014/main" id="{D9AF3351-B9ED-4F65-8FC1-D39D814A59D6}"/>
                  </a:ext>
                </a:extLst>
              </p:cNvPr>
              <p:cNvSpPr/>
              <p:nvPr/>
            </p:nvSpPr>
            <p:spPr>
              <a:xfrm rot="16200000">
                <a:off x="7140137" y="1144287"/>
                <a:ext cx="1327828" cy="1144680"/>
              </a:xfrm>
              <a:prstGeom prst="hexagon">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54" name="Hexagon 53">
                <a:extLst>
                  <a:ext uri="{FF2B5EF4-FFF2-40B4-BE49-F238E27FC236}">
                    <a16:creationId xmlns:a16="http://schemas.microsoft.com/office/drawing/2014/main" id="{ED1EDB9C-C058-43BE-B6EC-623C52075BE5}"/>
                  </a:ext>
                </a:extLst>
              </p:cNvPr>
              <p:cNvSpPr/>
              <p:nvPr/>
            </p:nvSpPr>
            <p:spPr>
              <a:xfrm rot="16200000">
                <a:off x="7253738" y="1242226"/>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pic>
          <p:nvPicPr>
            <p:cNvPr id="52" name="Picture 2" descr="Resultado de imagen de apache kafka">
              <a:extLst>
                <a:ext uri="{FF2B5EF4-FFF2-40B4-BE49-F238E27FC236}">
                  <a16:creationId xmlns:a16="http://schemas.microsoft.com/office/drawing/2014/main" id="{8C09B2B5-9546-47E3-9AC7-474780AF430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053756" y="1216855"/>
              <a:ext cx="1146856" cy="573429"/>
            </a:xfrm>
            <a:prstGeom prst="rect">
              <a:avLst/>
            </a:prstGeom>
            <a:noFill/>
            <a:extLst>
              <a:ext uri="{909E8E84-426E-40DD-AFC4-6F175D3DCCD1}">
                <a14:hiddenFill xmlns:a14="http://schemas.microsoft.com/office/drawing/2010/main">
                  <a:solidFill>
                    <a:srgbClr val="FFFFFF"/>
                  </a:solidFill>
                </a14:hiddenFill>
              </a:ext>
            </a:extLst>
          </p:spPr>
        </p:pic>
      </p:grpSp>
      <p:pic>
        <p:nvPicPr>
          <p:cNvPr id="55" name="Picture 2" descr="EDEM Escuela de Empresarios, Fundación de la Comunidad Valenciana -  Asociación Valenciana de Fundaciones de la CV">
            <a:extLst>
              <a:ext uri="{FF2B5EF4-FFF2-40B4-BE49-F238E27FC236}">
                <a16:creationId xmlns:a16="http://schemas.microsoft.com/office/drawing/2014/main" id="{F83A0B3A-F5DA-435B-A8BE-45966AFC9ED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58704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Kafka Connect</a:t>
            </a:r>
          </a:p>
        </p:txBody>
      </p:sp>
      <p:sp>
        <p:nvSpPr>
          <p:cNvPr id="3" name="Date Placeholder 2"/>
          <p:cNvSpPr>
            <a:spLocks noGrp="1"/>
          </p:cNvSpPr>
          <p:nvPr>
            <p:ph type="dt" sz="half" idx="2"/>
          </p:nvPr>
        </p:nvSpPr>
        <p:spPr/>
        <p:txBody>
          <a:bodyPr/>
          <a:lstStyle/>
          <a:p>
            <a:pPr defTabSz="685800"/>
            <a:fld id="{97B746A9-829D-4556-8B99-7D5473FFBD99}" type="datetime1">
              <a:rPr lang="en-GB" smtClean="0"/>
              <a:t>02/12/2021</a:t>
            </a:fld>
            <a:endParaRPr lang="en-GB" dirty="0"/>
          </a:p>
        </p:txBody>
      </p:sp>
      <p:sp>
        <p:nvSpPr>
          <p:cNvPr id="4" name="Text Placeholder 3"/>
          <p:cNvSpPr>
            <a:spLocks noGrp="1"/>
          </p:cNvSpPr>
          <p:nvPr>
            <p:ph type="body" sz="quarter" idx="10"/>
          </p:nvPr>
        </p:nvSpPr>
        <p:spPr>
          <a:xfrm>
            <a:off x="982662" y="1573213"/>
            <a:ext cx="3192463" cy="3090077"/>
          </a:xfrm>
        </p:spPr>
        <p:txBody>
          <a:bodyPr/>
          <a:lstStyle/>
          <a:p>
            <a:r>
              <a:rPr lang="en-GB" dirty="0">
                <a:solidFill>
                  <a:srgbClr val="5082BE"/>
                </a:solidFill>
              </a:rPr>
              <a:t>Provides</a:t>
            </a:r>
          </a:p>
          <a:p>
            <a:pPr lvl="1"/>
            <a:r>
              <a:rPr lang="en-GB" dirty="0"/>
              <a:t>Framework to easily integrate Kafka with other systems</a:t>
            </a:r>
          </a:p>
          <a:p>
            <a:pPr lvl="1"/>
            <a:r>
              <a:rPr lang="en-GB" b="1" dirty="0">
                <a:solidFill>
                  <a:srgbClr val="5082BE"/>
                </a:solidFill>
              </a:rPr>
              <a:t>Reusable components library</a:t>
            </a:r>
          </a:p>
          <a:p>
            <a:pPr lvl="2"/>
            <a:r>
              <a:rPr lang="en-GB" dirty="0"/>
              <a:t>Source Connectors</a:t>
            </a:r>
          </a:p>
          <a:p>
            <a:pPr lvl="2"/>
            <a:r>
              <a:rPr lang="en-GB" dirty="0"/>
              <a:t>Sink Connectors</a:t>
            </a:r>
          </a:p>
          <a:p>
            <a:endParaRPr lang="en-GB" dirty="0"/>
          </a:p>
          <a:p>
            <a:r>
              <a:rPr lang="en-GB" dirty="0">
                <a:solidFill>
                  <a:srgbClr val="5082BE"/>
                </a:solidFill>
              </a:rPr>
              <a:t>Features</a:t>
            </a:r>
          </a:p>
          <a:p>
            <a:pPr lvl="1"/>
            <a:r>
              <a:rPr lang="en-GB" dirty="0"/>
              <a:t>Scale out</a:t>
            </a:r>
          </a:p>
          <a:p>
            <a:pPr lvl="1"/>
            <a:r>
              <a:rPr lang="en-GB" dirty="0"/>
              <a:t>Fault Tolerance</a:t>
            </a:r>
          </a:p>
          <a:p>
            <a:pPr lvl="1"/>
            <a:r>
              <a:rPr lang="en-GB" dirty="0"/>
              <a:t>Central Management</a:t>
            </a:r>
          </a:p>
          <a:p>
            <a:pPr lvl="2"/>
            <a:r>
              <a:rPr lang="en-GB" dirty="0"/>
              <a:t>REST API</a:t>
            </a:r>
          </a:p>
          <a:p>
            <a:pPr lvl="1"/>
            <a:r>
              <a:rPr lang="en-GB" dirty="0"/>
              <a:t>Schema Propagation</a:t>
            </a:r>
          </a:p>
        </p:txBody>
      </p:sp>
      <p:pic>
        <p:nvPicPr>
          <p:cNvPr id="6" name="Picture 5"/>
          <p:cNvPicPr>
            <a:picLocks noChangeAspect="1"/>
          </p:cNvPicPr>
          <p:nvPr/>
        </p:nvPicPr>
        <p:blipFill>
          <a:blip r:embed="rId2">
            <a:extLst>
              <a:ext uri="{BEBA8EAE-BF5A-486C-A8C5-ECC9F3942E4B}">
                <a14:imgProps xmlns:a14="http://schemas.microsoft.com/office/drawing/2010/main">
                  <a14:imgLayer r:embed="rId3">
                    <a14:imgEffect>
                      <a14:brightnessContrast bright="-20000" contrast="40000"/>
                    </a14:imgEffect>
                  </a14:imgLayer>
                </a14:imgProps>
              </a:ext>
            </a:extLst>
          </a:blip>
          <a:stretch>
            <a:fillRect/>
          </a:stretch>
        </p:blipFill>
        <p:spPr>
          <a:xfrm>
            <a:off x="4175125" y="1573213"/>
            <a:ext cx="4146233" cy="1293483"/>
          </a:xfrm>
          <a:prstGeom prst="rect">
            <a:avLst/>
          </a:prstGeom>
        </p:spPr>
      </p:pic>
      <p:sp>
        <p:nvSpPr>
          <p:cNvPr id="7" name="Text Placeholder 3"/>
          <p:cNvSpPr txBox="1">
            <a:spLocks/>
          </p:cNvSpPr>
          <p:nvPr/>
        </p:nvSpPr>
        <p:spPr>
          <a:xfrm>
            <a:off x="4175125" y="3388536"/>
            <a:ext cx="3988688" cy="963341"/>
          </a:xfrm>
          <a:prstGeom prst="rect">
            <a:avLst/>
          </a:prstGeom>
        </p:spPr>
        <p:txBody>
          <a:bodyPr vert="horz" wrap="square" lIns="0" tIns="0" rIns="0" bIns="0" rtlCol="0">
            <a:spAutoFit/>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dirty="0"/>
              <a:t>Kafka Connect </a:t>
            </a:r>
            <a:r>
              <a:rPr lang="en-GB" dirty="0">
                <a:solidFill>
                  <a:srgbClr val="5082BE"/>
                </a:solidFill>
              </a:rPr>
              <a:t>runs as a cluster </a:t>
            </a:r>
            <a:r>
              <a:rPr lang="en-GB" dirty="0"/>
              <a:t>of worker processes</a:t>
            </a:r>
          </a:p>
          <a:p>
            <a:pPr lvl="1"/>
            <a:r>
              <a:rPr lang="en-GB" dirty="0"/>
              <a:t>Install Apache Kafka on all the machines and simply start the brokers on some servers and start connect on others</a:t>
            </a:r>
          </a:p>
        </p:txBody>
      </p:sp>
      <p:pic>
        <p:nvPicPr>
          <p:cNvPr id="8" name="Picture 2" descr="EDEM Escuela de Empresarios, Fundación de la Comunidad Valenciana -  Asociación Valenciana de Fundaciones de la CV">
            <a:extLst>
              <a:ext uri="{FF2B5EF4-FFF2-40B4-BE49-F238E27FC236}">
                <a16:creationId xmlns:a16="http://schemas.microsoft.com/office/drawing/2014/main" id="{B0E43A96-AC9A-44ED-A729-CC54E83C36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37016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Kafka Connect</a:t>
            </a:r>
          </a:p>
        </p:txBody>
      </p:sp>
      <p:sp>
        <p:nvSpPr>
          <p:cNvPr id="3" name="Date Placeholder 2"/>
          <p:cNvSpPr>
            <a:spLocks noGrp="1"/>
          </p:cNvSpPr>
          <p:nvPr>
            <p:ph type="dt" sz="half" idx="2"/>
          </p:nvPr>
        </p:nvSpPr>
        <p:spPr/>
        <p:txBody>
          <a:bodyPr/>
          <a:lstStyle/>
          <a:p>
            <a:pPr defTabSz="685800"/>
            <a:fld id="{97B746A9-829D-4556-8B99-7D5473FFBD99}" type="datetime1">
              <a:rPr lang="en-GB" smtClean="0"/>
              <a:t>02/12/2021</a:t>
            </a:fld>
            <a:endParaRPr lang="en-GB" dirty="0"/>
          </a:p>
        </p:txBody>
      </p:sp>
      <p:sp>
        <p:nvSpPr>
          <p:cNvPr id="4" name="Text Placeholder 3"/>
          <p:cNvSpPr>
            <a:spLocks noGrp="1"/>
          </p:cNvSpPr>
          <p:nvPr>
            <p:ph type="body" sz="quarter" idx="10"/>
          </p:nvPr>
        </p:nvSpPr>
        <p:spPr>
          <a:xfrm>
            <a:off x="977899" y="1573213"/>
            <a:ext cx="3901031" cy="1409617"/>
          </a:xfrm>
        </p:spPr>
        <p:txBody>
          <a:bodyPr/>
          <a:lstStyle/>
          <a:p>
            <a:r>
              <a:rPr lang="en-GB" dirty="0"/>
              <a:t>Kafka all the things!</a:t>
            </a:r>
          </a:p>
          <a:p>
            <a:pPr lvl="1"/>
            <a:r>
              <a:rPr lang="en-GB" dirty="0"/>
              <a:t>Hadoop</a:t>
            </a:r>
          </a:p>
          <a:p>
            <a:pPr lvl="1"/>
            <a:r>
              <a:rPr lang="en-GB" dirty="0"/>
              <a:t>Cassandra</a:t>
            </a:r>
          </a:p>
          <a:p>
            <a:pPr lvl="1"/>
            <a:r>
              <a:rPr lang="en-GB" dirty="0"/>
              <a:t>JDBC</a:t>
            </a:r>
          </a:p>
          <a:p>
            <a:pPr lvl="1"/>
            <a:r>
              <a:rPr lang="en-GB" dirty="0"/>
              <a:t>Elastic</a:t>
            </a:r>
          </a:p>
          <a:p>
            <a:pPr lvl="1"/>
            <a:r>
              <a:rPr lang="en-GB" dirty="0"/>
              <a:t>S3</a:t>
            </a:r>
          </a:p>
        </p:txBody>
      </p:sp>
      <p:pic>
        <p:nvPicPr>
          <p:cNvPr id="7" name="Picture 6"/>
          <p:cNvPicPr>
            <a:picLocks noChangeAspect="1"/>
          </p:cNvPicPr>
          <p:nvPr/>
        </p:nvPicPr>
        <p:blipFill>
          <a:blip r:embed="rId2">
            <a:extLst>
              <a:ext uri="{BEBA8EAE-BF5A-486C-A8C5-ECC9F3942E4B}">
                <a14:imgProps xmlns:a14="http://schemas.microsoft.com/office/drawing/2010/main">
                  <a14:imgLayer r:embed="rId3">
                    <a14:imgEffect>
                      <a14:brightnessContrast bright="-20000" contrast="40000"/>
                    </a14:imgEffect>
                  </a14:imgLayer>
                </a14:imgProps>
              </a:ext>
            </a:extLst>
          </a:blip>
          <a:stretch>
            <a:fillRect/>
          </a:stretch>
        </p:blipFill>
        <p:spPr>
          <a:xfrm>
            <a:off x="4215454" y="1346251"/>
            <a:ext cx="3748857" cy="2438281"/>
          </a:xfrm>
          <a:prstGeom prst="rect">
            <a:avLst/>
          </a:prstGeom>
        </p:spPr>
      </p:pic>
      <p:sp>
        <p:nvSpPr>
          <p:cNvPr id="8" name="Text Placeholder 3"/>
          <p:cNvSpPr txBox="1">
            <a:spLocks/>
          </p:cNvSpPr>
          <p:nvPr/>
        </p:nvSpPr>
        <p:spPr>
          <a:xfrm>
            <a:off x="1166558" y="3070918"/>
            <a:ext cx="1178081" cy="1612749"/>
          </a:xfrm>
          <a:prstGeom prst="rect">
            <a:avLst/>
          </a:prstGeom>
        </p:spPr>
        <p:txBody>
          <a:bodyPr vert="horz" wrap="square" lIns="0" tIns="0" rIns="0" bIns="0" rtlCol="0">
            <a:spAutoFit/>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800" dirty="0"/>
              <a:t>Azure </a:t>
            </a:r>
            <a:r>
              <a:rPr lang="en-GB" sz="800" dirty="0" err="1"/>
              <a:t>IoT</a:t>
            </a:r>
            <a:r>
              <a:rPr lang="en-GB" sz="800" dirty="0"/>
              <a:t> Hub</a:t>
            </a:r>
          </a:p>
          <a:p>
            <a:r>
              <a:rPr lang="en-GB" sz="800" dirty="0" err="1"/>
              <a:t>Couchbase</a:t>
            </a:r>
            <a:endParaRPr lang="en-GB" sz="800" dirty="0"/>
          </a:p>
          <a:p>
            <a:r>
              <a:rPr lang="en-GB" sz="800" dirty="0"/>
              <a:t>Oracle Golden Gate</a:t>
            </a:r>
          </a:p>
          <a:p>
            <a:r>
              <a:rPr lang="en-GB" sz="800" dirty="0"/>
              <a:t>SAP HANA</a:t>
            </a:r>
          </a:p>
          <a:p>
            <a:r>
              <a:rPr lang="en-GB" sz="800" dirty="0"/>
              <a:t>Vertica</a:t>
            </a:r>
          </a:p>
          <a:p>
            <a:r>
              <a:rPr lang="en-GB" sz="800" dirty="0"/>
              <a:t>Apache Ignite</a:t>
            </a:r>
          </a:p>
          <a:p>
            <a:r>
              <a:rPr lang="en-GB" sz="800" dirty="0"/>
              <a:t>GitHub</a:t>
            </a:r>
          </a:p>
          <a:p>
            <a:r>
              <a:rPr lang="en-GB" sz="800" dirty="0"/>
              <a:t>Google </a:t>
            </a:r>
            <a:r>
              <a:rPr lang="en-GB" sz="800" dirty="0" err="1"/>
              <a:t>PubSub</a:t>
            </a:r>
            <a:endParaRPr lang="en-GB" sz="800" dirty="0"/>
          </a:p>
          <a:p>
            <a:endParaRPr lang="en-GB" sz="800" dirty="0"/>
          </a:p>
        </p:txBody>
      </p:sp>
      <p:sp>
        <p:nvSpPr>
          <p:cNvPr id="9" name="Text Placeholder 3"/>
          <p:cNvSpPr txBox="1">
            <a:spLocks/>
          </p:cNvSpPr>
          <p:nvPr/>
        </p:nvSpPr>
        <p:spPr>
          <a:xfrm>
            <a:off x="2450147" y="3072030"/>
            <a:ext cx="1178081" cy="1425005"/>
          </a:xfrm>
          <a:prstGeom prst="rect">
            <a:avLst/>
          </a:prstGeom>
        </p:spPr>
        <p:txBody>
          <a:bodyPr vert="horz" wrap="square" lIns="0" tIns="0" rIns="0" bIns="0" rtlCol="0">
            <a:spAutoFit/>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800" dirty="0"/>
              <a:t>Google </a:t>
            </a:r>
            <a:r>
              <a:rPr lang="en-GB" sz="800" dirty="0" err="1"/>
              <a:t>BigQuery</a:t>
            </a:r>
            <a:endParaRPr lang="en-GB" sz="800" dirty="0"/>
          </a:p>
          <a:p>
            <a:r>
              <a:rPr lang="en-GB" sz="800" dirty="0" err="1"/>
              <a:t>Hazelcast</a:t>
            </a:r>
            <a:endParaRPr lang="en-GB" sz="800" dirty="0"/>
          </a:p>
          <a:p>
            <a:r>
              <a:rPr lang="en-GB" sz="800" dirty="0" err="1"/>
              <a:t>HBase</a:t>
            </a:r>
            <a:endParaRPr lang="en-GB" sz="800" dirty="0"/>
          </a:p>
          <a:p>
            <a:r>
              <a:rPr lang="en-GB" sz="800" dirty="0"/>
              <a:t>JMS</a:t>
            </a:r>
          </a:p>
          <a:p>
            <a:r>
              <a:rPr lang="en-GB" sz="800" dirty="0"/>
              <a:t>Kudu</a:t>
            </a:r>
          </a:p>
          <a:p>
            <a:r>
              <a:rPr lang="en-GB" sz="800" dirty="0" err="1"/>
              <a:t>MarkLogic</a:t>
            </a:r>
            <a:endParaRPr lang="en-GB" sz="800" dirty="0"/>
          </a:p>
          <a:p>
            <a:r>
              <a:rPr lang="en-GB" sz="800" dirty="0"/>
              <a:t>MongoDB</a:t>
            </a:r>
          </a:p>
          <a:p>
            <a:r>
              <a:rPr lang="en-GB" sz="800" dirty="0" err="1"/>
              <a:t>RabbitMQ</a:t>
            </a:r>
            <a:endParaRPr lang="en-GB" sz="800" dirty="0"/>
          </a:p>
        </p:txBody>
      </p:sp>
      <p:sp>
        <p:nvSpPr>
          <p:cNvPr id="10" name="Text Placeholder 3"/>
          <p:cNvSpPr txBox="1">
            <a:spLocks/>
          </p:cNvSpPr>
          <p:nvPr/>
        </p:nvSpPr>
        <p:spPr>
          <a:xfrm>
            <a:off x="3681005" y="3072030"/>
            <a:ext cx="1178081" cy="1425005"/>
          </a:xfrm>
          <a:prstGeom prst="rect">
            <a:avLst/>
          </a:prstGeom>
        </p:spPr>
        <p:txBody>
          <a:bodyPr vert="horz" wrap="square" lIns="0" tIns="0" rIns="0" bIns="0" rtlCol="0">
            <a:spAutoFit/>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800" dirty="0" err="1"/>
              <a:t>Redis</a:t>
            </a:r>
            <a:endParaRPr lang="en-GB" sz="800" dirty="0"/>
          </a:p>
          <a:p>
            <a:r>
              <a:rPr lang="en-GB" sz="800" dirty="0" err="1"/>
              <a:t>RethinkDB</a:t>
            </a:r>
            <a:endParaRPr lang="en-GB" sz="800" dirty="0"/>
          </a:p>
          <a:p>
            <a:r>
              <a:rPr lang="en-GB" sz="800" dirty="0"/>
              <a:t>Salesforce</a:t>
            </a:r>
          </a:p>
          <a:p>
            <a:r>
              <a:rPr lang="en-GB" sz="800" dirty="0" err="1"/>
              <a:t>Solr</a:t>
            </a:r>
            <a:endParaRPr lang="en-GB" sz="800" dirty="0"/>
          </a:p>
          <a:p>
            <a:r>
              <a:rPr lang="en-GB" sz="800" dirty="0" err="1"/>
              <a:t>Splunk</a:t>
            </a:r>
            <a:endParaRPr lang="en-GB" sz="800" dirty="0"/>
          </a:p>
          <a:p>
            <a:r>
              <a:rPr lang="en-GB" sz="800" dirty="0"/>
              <a:t>Twitter</a:t>
            </a:r>
          </a:p>
          <a:p>
            <a:r>
              <a:rPr lang="en-GB" sz="800" dirty="0" err="1"/>
              <a:t>Kinetica</a:t>
            </a:r>
            <a:endParaRPr lang="en-GB" sz="800" dirty="0"/>
          </a:p>
          <a:p>
            <a:r>
              <a:rPr lang="en-GB" sz="800" dirty="0"/>
              <a:t>…</a:t>
            </a:r>
          </a:p>
        </p:txBody>
      </p:sp>
      <p:sp>
        <p:nvSpPr>
          <p:cNvPr id="11" name="Rectangle 58"/>
          <p:cNvSpPr/>
          <p:nvPr/>
        </p:nvSpPr>
        <p:spPr bwMode="gray">
          <a:xfrm>
            <a:off x="982661" y="4674136"/>
            <a:ext cx="4484820" cy="92333"/>
          </a:xfrm>
          <a:prstGeom prst="rect">
            <a:avLst/>
          </a:prstGeom>
          <a:noFill/>
        </p:spPr>
        <p:txBody>
          <a:bodyPr wrap="square" lIns="0" tIns="0" rIns="0" bIns="0" anchor="t" anchorCtr="0">
            <a:spAutoFit/>
          </a:bodyPr>
          <a:lstStyle/>
          <a:p>
            <a:r>
              <a:rPr lang="en-GB" sz="600" dirty="0">
                <a:solidFill>
                  <a:srgbClr val="000000"/>
                </a:solidFill>
                <a:cs typeface="Avenir Book"/>
              </a:rPr>
              <a:t>Source: </a:t>
            </a:r>
            <a:r>
              <a:rPr lang="en-GB" sz="600" dirty="0">
                <a:solidFill>
                  <a:srgbClr val="000000"/>
                </a:solidFill>
                <a:cs typeface="Avenir Book"/>
                <a:hlinkClick r:id="rId4"/>
              </a:rPr>
              <a:t>https://www.confluent.io/product/connectors/</a:t>
            </a:r>
            <a:endParaRPr lang="en-GB" sz="600" dirty="0">
              <a:solidFill>
                <a:srgbClr val="000000"/>
              </a:solidFill>
              <a:cs typeface="Avenir Book"/>
            </a:endParaRPr>
          </a:p>
        </p:txBody>
      </p:sp>
      <p:pic>
        <p:nvPicPr>
          <p:cNvPr id="12" name="Picture 2" descr="EDEM Escuela de Empresarios, Fundación de la Comunidad Valenciana -  Asociación Valenciana de Fundaciones de la CV">
            <a:extLst>
              <a:ext uri="{FF2B5EF4-FFF2-40B4-BE49-F238E27FC236}">
                <a16:creationId xmlns:a16="http://schemas.microsoft.com/office/drawing/2014/main" id="{033C79E7-66AE-4C4E-81A8-A15C646BD63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98515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Kafka Connect Example</a:t>
            </a:r>
          </a:p>
        </p:txBody>
      </p:sp>
      <p:sp>
        <p:nvSpPr>
          <p:cNvPr id="3" name="Date Placeholder 2"/>
          <p:cNvSpPr>
            <a:spLocks noGrp="1"/>
          </p:cNvSpPr>
          <p:nvPr>
            <p:ph type="dt" sz="half" idx="2"/>
          </p:nvPr>
        </p:nvSpPr>
        <p:spPr/>
        <p:txBody>
          <a:bodyPr/>
          <a:lstStyle/>
          <a:p>
            <a:pPr defTabSz="685800"/>
            <a:fld id="{97B746A9-829D-4556-8B99-7D5473FFBD99}" type="datetime1">
              <a:rPr lang="en-GB" smtClean="0"/>
              <a:t>02/12/2021</a:t>
            </a:fld>
            <a:endParaRPr lang="en-GB" dirty="0"/>
          </a:p>
        </p:txBody>
      </p:sp>
      <p:sp>
        <p:nvSpPr>
          <p:cNvPr id="4" name="Text Placeholder 3"/>
          <p:cNvSpPr>
            <a:spLocks noGrp="1"/>
          </p:cNvSpPr>
          <p:nvPr>
            <p:ph type="body" sz="quarter" idx="10"/>
          </p:nvPr>
        </p:nvSpPr>
        <p:spPr>
          <a:xfrm>
            <a:off x="977900" y="2139601"/>
            <a:ext cx="7191375" cy="2103653"/>
          </a:xfrm>
        </p:spPr>
        <p:txBody>
          <a:bodyPr/>
          <a:lstStyle/>
          <a:p>
            <a:pPr marL="0" indent="0">
              <a:buNone/>
            </a:pPr>
            <a:r>
              <a:rPr lang="es-ES" sz="1100" dirty="0">
                <a:latin typeface="Consolas" panose="020B0609020204030204" pitchFamily="49" charset="0"/>
                <a:cs typeface="Consolas" panose="020B0609020204030204" pitchFamily="49" charset="0"/>
              </a:rPr>
              <a:t>$ ./</a:t>
            </a:r>
            <a:r>
              <a:rPr lang="es-ES" sz="1100" dirty="0" err="1">
                <a:latin typeface="Consolas" panose="020B0609020204030204" pitchFamily="49" charset="0"/>
                <a:cs typeface="Consolas" panose="020B0609020204030204" pitchFamily="49" charset="0"/>
              </a:rPr>
              <a:t>bin</a:t>
            </a:r>
            <a:r>
              <a:rPr lang="es-ES" sz="1100" dirty="0">
                <a:latin typeface="Consolas" panose="020B0609020204030204" pitchFamily="49" charset="0"/>
                <a:cs typeface="Consolas" panose="020B0609020204030204" pitchFamily="49" charset="0"/>
              </a:rPr>
              <a:t>/</a:t>
            </a:r>
            <a:r>
              <a:rPr lang="es-ES" sz="1100" dirty="0" err="1">
                <a:latin typeface="Consolas" panose="020B0609020204030204" pitchFamily="49" charset="0"/>
                <a:cs typeface="Consolas" panose="020B0609020204030204" pitchFamily="49" charset="0"/>
              </a:rPr>
              <a:t>confluent</a:t>
            </a:r>
            <a:r>
              <a:rPr lang="es-ES" sz="1100" dirty="0">
                <a:latin typeface="Consolas" panose="020B0609020204030204" pitchFamily="49" charset="0"/>
                <a:cs typeface="Consolas" panose="020B0609020204030204" pitchFamily="49" charset="0"/>
              </a:rPr>
              <a:t> </a:t>
            </a:r>
            <a:r>
              <a:rPr lang="es-ES" sz="1100" dirty="0" err="1">
                <a:latin typeface="Consolas" panose="020B0609020204030204" pitchFamily="49" charset="0"/>
                <a:cs typeface="Consolas" panose="020B0609020204030204" pitchFamily="49" charset="0"/>
              </a:rPr>
              <a:t>start</a:t>
            </a:r>
            <a:endParaRPr lang="es-ES" sz="1100" dirty="0">
              <a:latin typeface="Consolas" panose="020B0609020204030204" pitchFamily="49" charset="0"/>
              <a:cs typeface="Consolas" panose="020B0609020204030204" pitchFamily="49" charset="0"/>
            </a:endParaRPr>
          </a:p>
          <a:p>
            <a:pPr marL="0" indent="0">
              <a:buNone/>
            </a:pPr>
            <a:endParaRPr lang="es-ES" sz="1100" dirty="0">
              <a:latin typeface="Consolas" panose="020B0609020204030204" pitchFamily="49" charset="0"/>
              <a:cs typeface="Consolas" panose="020B0609020204030204" pitchFamily="49" charset="0"/>
            </a:endParaRPr>
          </a:p>
          <a:p>
            <a:pPr marL="0" indent="0">
              <a:buNone/>
            </a:pPr>
            <a:r>
              <a:rPr lang="es-ES" sz="1100" dirty="0">
                <a:latin typeface="Consolas" panose="020B0609020204030204" pitchFamily="49" charset="0"/>
                <a:cs typeface="Consolas" panose="020B0609020204030204" pitchFamily="49" charset="0"/>
              </a:rPr>
              <a:t>$ ./</a:t>
            </a:r>
            <a:r>
              <a:rPr lang="es-ES" sz="1100" dirty="0" err="1">
                <a:latin typeface="Consolas" panose="020B0609020204030204" pitchFamily="49" charset="0"/>
                <a:cs typeface="Consolas" panose="020B0609020204030204" pitchFamily="49" charset="0"/>
              </a:rPr>
              <a:t>bin</a:t>
            </a:r>
            <a:r>
              <a:rPr lang="es-ES" sz="1100" dirty="0">
                <a:latin typeface="Consolas" panose="020B0609020204030204" pitchFamily="49" charset="0"/>
                <a:cs typeface="Consolas" panose="020B0609020204030204" pitchFamily="49" charset="0"/>
              </a:rPr>
              <a:t>/</a:t>
            </a:r>
            <a:r>
              <a:rPr lang="es-ES" sz="1100" dirty="0" err="1">
                <a:latin typeface="Consolas" panose="020B0609020204030204" pitchFamily="49" charset="0"/>
                <a:cs typeface="Consolas" panose="020B0609020204030204" pitchFamily="49" charset="0"/>
              </a:rPr>
              <a:t>confluent</a:t>
            </a:r>
            <a:r>
              <a:rPr lang="es-ES" sz="1100" dirty="0">
                <a:latin typeface="Consolas" panose="020B0609020204030204" pitchFamily="49" charset="0"/>
                <a:cs typeface="Consolas" panose="020B0609020204030204" pitchFamily="49" charset="0"/>
              </a:rPr>
              <a:t> load </a:t>
            </a:r>
            <a:br>
              <a:rPr lang="es-ES" sz="1100" dirty="0">
                <a:latin typeface="Consolas" panose="020B0609020204030204" pitchFamily="49" charset="0"/>
                <a:cs typeface="Consolas" panose="020B0609020204030204" pitchFamily="49" charset="0"/>
              </a:rPr>
            </a:br>
            <a:r>
              <a:rPr lang="es-ES" sz="1100" dirty="0">
                <a:latin typeface="Consolas" panose="020B0609020204030204" pitchFamily="49" charset="0"/>
                <a:cs typeface="Consolas" panose="020B0609020204030204" pitchFamily="49" charset="0"/>
              </a:rPr>
              <a:t>jdbc_source_mysql_foobar_01 </a:t>
            </a:r>
            <a:br>
              <a:rPr lang="es-ES" sz="1100" dirty="0">
                <a:latin typeface="Consolas" panose="020B0609020204030204" pitchFamily="49" charset="0"/>
                <a:cs typeface="Consolas" panose="020B0609020204030204" pitchFamily="49" charset="0"/>
              </a:rPr>
            </a:br>
            <a:r>
              <a:rPr lang="es-ES" sz="1100" dirty="0">
                <a:latin typeface="Consolas" panose="020B0609020204030204" pitchFamily="49" charset="0"/>
                <a:cs typeface="Consolas" panose="020B0609020204030204" pitchFamily="49" charset="0"/>
              </a:rPr>
              <a:t>-d </a:t>
            </a:r>
            <a:r>
              <a:rPr lang="es-ES" sz="1100" dirty="0">
                <a:latin typeface="Consolas" panose="020B0609020204030204" pitchFamily="49" charset="0"/>
                <a:cs typeface="Consolas" panose="020B0609020204030204" pitchFamily="49" charset="0"/>
                <a:hlinkClick r:id="rId2"/>
              </a:rPr>
              <a:t>/</a:t>
            </a:r>
            <a:r>
              <a:rPr lang="es-ES" sz="1100" dirty="0" err="1">
                <a:latin typeface="Consolas" panose="020B0609020204030204" pitchFamily="49" charset="0"/>
                <a:cs typeface="Consolas" panose="020B0609020204030204" pitchFamily="49" charset="0"/>
                <a:hlinkClick r:id="rId2"/>
              </a:rPr>
              <a:t>tmp</a:t>
            </a:r>
            <a:r>
              <a:rPr lang="es-ES" sz="1100" dirty="0">
                <a:latin typeface="Consolas" panose="020B0609020204030204" pitchFamily="49" charset="0"/>
                <a:cs typeface="Consolas" panose="020B0609020204030204" pitchFamily="49" charset="0"/>
                <a:hlinkClick r:id="rId2"/>
              </a:rPr>
              <a:t>/</a:t>
            </a:r>
            <a:r>
              <a:rPr lang="es-ES" sz="1100" dirty="0" err="1">
                <a:latin typeface="Consolas" panose="020B0609020204030204" pitchFamily="49" charset="0"/>
                <a:cs typeface="Consolas" panose="020B0609020204030204" pitchFamily="49" charset="0"/>
                <a:hlinkClick r:id="rId2"/>
              </a:rPr>
              <a:t>kafka-connect-jdbc-source.json</a:t>
            </a:r>
            <a:endParaRPr lang="es-ES" sz="1100" dirty="0">
              <a:latin typeface="Consolas" panose="020B0609020204030204" pitchFamily="49" charset="0"/>
              <a:cs typeface="Consolas" panose="020B0609020204030204" pitchFamily="49" charset="0"/>
            </a:endParaRPr>
          </a:p>
          <a:p>
            <a:pPr marL="0" indent="0">
              <a:buNone/>
            </a:pPr>
            <a:endParaRPr lang="es-ES" sz="1100" dirty="0">
              <a:latin typeface="Consolas" panose="020B0609020204030204" pitchFamily="49" charset="0"/>
              <a:cs typeface="Consolas" panose="020B0609020204030204" pitchFamily="49" charset="0"/>
            </a:endParaRPr>
          </a:p>
          <a:p>
            <a:pPr marL="0" indent="0">
              <a:buNone/>
            </a:pPr>
            <a:r>
              <a:rPr lang="es-ES" sz="1100" dirty="0">
                <a:latin typeface="Consolas" panose="020B0609020204030204" pitchFamily="49" charset="0"/>
                <a:cs typeface="Consolas" panose="020B0609020204030204" pitchFamily="49" charset="0"/>
              </a:rPr>
              <a:t>$ ./</a:t>
            </a:r>
            <a:r>
              <a:rPr lang="es-ES" sz="1100" dirty="0" err="1">
                <a:latin typeface="Consolas" panose="020B0609020204030204" pitchFamily="49" charset="0"/>
                <a:cs typeface="Consolas" panose="020B0609020204030204" pitchFamily="49" charset="0"/>
              </a:rPr>
              <a:t>bin</a:t>
            </a:r>
            <a:r>
              <a:rPr lang="es-ES" sz="1100" dirty="0">
                <a:latin typeface="Consolas" panose="020B0609020204030204" pitchFamily="49" charset="0"/>
                <a:cs typeface="Consolas" panose="020B0609020204030204" pitchFamily="49" charset="0"/>
              </a:rPr>
              <a:t>/</a:t>
            </a:r>
            <a:r>
              <a:rPr lang="es-ES" sz="1100" dirty="0" err="1">
                <a:latin typeface="Consolas" panose="020B0609020204030204" pitchFamily="49" charset="0"/>
                <a:cs typeface="Consolas" panose="020B0609020204030204" pitchFamily="49" charset="0"/>
              </a:rPr>
              <a:t>confluent</a:t>
            </a:r>
            <a:r>
              <a:rPr lang="es-ES" sz="1100" dirty="0">
                <a:latin typeface="Consolas" panose="020B0609020204030204" pitchFamily="49" charset="0"/>
                <a:cs typeface="Consolas" panose="020B0609020204030204" pitchFamily="49" charset="0"/>
              </a:rPr>
              <a:t> load file-</a:t>
            </a:r>
            <a:r>
              <a:rPr lang="es-ES" sz="1100" dirty="0" err="1">
                <a:latin typeface="Consolas" panose="020B0609020204030204" pitchFamily="49" charset="0"/>
                <a:cs typeface="Consolas" panose="020B0609020204030204" pitchFamily="49" charset="0"/>
              </a:rPr>
              <a:t>sink</a:t>
            </a:r>
            <a:r>
              <a:rPr lang="es-ES" sz="1100" dirty="0">
                <a:latin typeface="Consolas" panose="020B0609020204030204" pitchFamily="49" charset="0"/>
                <a:cs typeface="Consolas" panose="020B0609020204030204" pitchFamily="49" charset="0"/>
              </a:rPr>
              <a:t>-</a:t>
            </a:r>
            <a:r>
              <a:rPr lang="es-ES" sz="1100" dirty="0" err="1">
                <a:latin typeface="Consolas" panose="020B0609020204030204" pitchFamily="49" charset="0"/>
                <a:cs typeface="Consolas" panose="020B0609020204030204" pitchFamily="49" charset="0"/>
              </a:rPr>
              <a:t>mysql-foobar</a:t>
            </a:r>
            <a:r>
              <a:rPr lang="es-ES" sz="1100" dirty="0">
                <a:latin typeface="Consolas" panose="020B0609020204030204" pitchFamily="49" charset="0"/>
                <a:cs typeface="Consolas" panose="020B0609020204030204" pitchFamily="49" charset="0"/>
              </a:rPr>
              <a:t> -d </a:t>
            </a:r>
            <a:r>
              <a:rPr lang="es-ES" sz="1100" dirty="0">
                <a:latin typeface="Consolas" panose="020B0609020204030204" pitchFamily="49" charset="0"/>
                <a:cs typeface="Consolas" panose="020B0609020204030204" pitchFamily="49" charset="0"/>
                <a:hlinkClick r:id="rId3"/>
              </a:rPr>
              <a:t>/</a:t>
            </a:r>
            <a:r>
              <a:rPr lang="es-ES" sz="1100" dirty="0" err="1">
                <a:latin typeface="Consolas" panose="020B0609020204030204" pitchFamily="49" charset="0"/>
                <a:cs typeface="Consolas" panose="020B0609020204030204" pitchFamily="49" charset="0"/>
                <a:hlinkClick r:id="rId3"/>
              </a:rPr>
              <a:t>tmp</a:t>
            </a:r>
            <a:r>
              <a:rPr lang="es-ES" sz="1100" dirty="0">
                <a:latin typeface="Consolas" panose="020B0609020204030204" pitchFamily="49" charset="0"/>
                <a:cs typeface="Consolas" panose="020B0609020204030204" pitchFamily="49" charset="0"/>
                <a:hlinkClick r:id="rId3"/>
              </a:rPr>
              <a:t>/</a:t>
            </a:r>
            <a:r>
              <a:rPr lang="es-ES" sz="1100" dirty="0" err="1">
                <a:latin typeface="Consolas" panose="020B0609020204030204" pitchFamily="49" charset="0"/>
                <a:cs typeface="Consolas" panose="020B0609020204030204" pitchFamily="49" charset="0"/>
                <a:hlinkClick r:id="rId3"/>
              </a:rPr>
              <a:t>kafka</a:t>
            </a:r>
            <a:r>
              <a:rPr lang="es-ES" sz="1100" dirty="0">
                <a:latin typeface="Consolas" panose="020B0609020204030204" pitchFamily="49" charset="0"/>
                <a:cs typeface="Consolas" panose="020B0609020204030204" pitchFamily="49" charset="0"/>
                <a:hlinkClick r:id="rId3"/>
              </a:rPr>
              <a:t>-</a:t>
            </a:r>
            <a:r>
              <a:rPr lang="es-ES" sz="1100" dirty="0" err="1">
                <a:latin typeface="Consolas" panose="020B0609020204030204" pitchFamily="49" charset="0"/>
                <a:cs typeface="Consolas" panose="020B0609020204030204" pitchFamily="49" charset="0"/>
                <a:hlinkClick r:id="rId3"/>
              </a:rPr>
              <a:t>connect</a:t>
            </a:r>
            <a:r>
              <a:rPr lang="es-ES" sz="1100" dirty="0">
                <a:latin typeface="Consolas" panose="020B0609020204030204" pitchFamily="49" charset="0"/>
                <a:cs typeface="Consolas" panose="020B0609020204030204" pitchFamily="49" charset="0"/>
                <a:hlinkClick r:id="rId3"/>
              </a:rPr>
              <a:t>-file-</a:t>
            </a:r>
            <a:r>
              <a:rPr lang="es-ES" sz="1100" dirty="0" err="1">
                <a:latin typeface="Consolas" panose="020B0609020204030204" pitchFamily="49" charset="0"/>
                <a:cs typeface="Consolas" panose="020B0609020204030204" pitchFamily="49" charset="0"/>
                <a:hlinkClick r:id="rId3"/>
              </a:rPr>
              <a:t>sink.json</a:t>
            </a:r>
            <a:endParaRPr lang="es-ES" sz="1100" dirty="0">
              <a:latin typeface="Consolas" panose="020B0609020204030204" pitchFamily="49" charset="0"/>
              <a:cs typeface="Consolas" panose="020B0609020204030204" pitchFamily="49" charset="0"/>
            </a:endParaRPr>
          </a:p>
          <a:p>
            <a:pPr marL="0" indent="0">
              <a:buNone/>
            </a:pPr>
            <a:endParaRPr lang="es-ES" sz="1100" dirty="0">
              <a:latin typeface="Consolas" panose="020B0609020204030204" pitchFamily="49" charset="0"/>
              <a:cs typeface="Consolas" panose="020B0609020204030204" pitchFamily="49" charset="0"/>
            </a:endParaRPr>
          </a:p>
          <a:p>
            <a:pPr marL="0" indent="0">
              <a:buNone/>
            </a:pPr>
            <a:r>
              <a:rPr lang="es-ES" sz="1100" dirty="0">
                <a:latin typeface="Consolas" panose="020B0609020204030204" pitchFamily="49" charset="0"/>
                <a:cs typeface="Consolas" panose="020B0609020204030204" pitchFamily="49" charset="0"/>
              </a:rPr>
              <a:t>$ ./</a:t>
            </a:r>
            <a:r>
              <a:rPr lang="es-ES" sz="1100" dirty="0" err="1">
                <a:latin typeface="Consolas" panose="020B0609020204030204" pitchFamily="49" charset="0"/>
                <a:cs typeface="Consolas" panose="020B0609020204030204" pitchFamily="49" charset="0"/>
              </a:rPr>
              <a:t>bin</a:t>
            </a:r>
            <a:r>
              <a:rPr lang="es-ES" sz="1100" dirty="0">
                <a:latin typeface="Consolas" panose="020B0609020204030204" pitchFamily="49" charset="0"/>
                <a:cs typeface="Consolas" panose="020B0609020204030204" pitchFamily="49" charset="0"/>
              </a:rPr>
              <a:t>/</a:t>
            </a:r>
            <a:r>
              <a:rPr lang="es-ES" sz="1100" dirty="0" err="1">
                <a:latin typeface="Consolas" panose="020B0609020204030204" pitchFamily="49" charset="0"/>
                <a:cs typeface="Consolas" panose="020B0609020204030204" pitchFamily="49" charset="0"/>
              </a:rPr>
              <a:t>confluent</a:t>
            </a:r>
            <a:r>
              <a:rPr lang="es-ES" sz="1100" dirty="0">
                <a:latin typeface="Consolas" panose="020B0609020204030204" pitchFamily="49" charset="0"/>
                <a:cs typeface="Consolas" panose="020B0609020204030204" pitchFamily="49" charset="0"/>
              </a:rPr>
              <a:t> load es-sink-mysql-foobar-01 -d </a:t>
            </a:r>
            <a:r>
              <a:rPr lang="es-ES" sz="1100" dirty="0">
                <a:latin typeface="Consolas" panose="020B0609020204030204" pitchFamily="49" charset="0"/>
                <a:cs typeface="Consolas" panose="020B0609020204030204" pitchFamily="49" charset="0"/>
                <a:hlinkClick r:id="rId4"/>
              </a:rPr>
              <a:t>/</a:t>
            </a:r>
            <a:r>
              <a:rPr lang="es-ES" sz="1100" dirty="0" err="1">
                <a:latin typeface="Consolas" panose="020B0609020204030204" pitchFamily="49" charset="0"/>
                <a:cs typeface="Consolas" panose="020B0609020204030204" pitchFamily="49" charset="0"/>
                <a:hlinkClick r:id="rId4"/>
              </a:rPr>
              <a:t>tmp</a:t>
            </a:r>
            <a:r>
              <a:rPr lang="es-ES" sz="1100" dirty="0">
                <a:latin typeface="Consolas" panose="020B0609020204030204" pitchFamily="49" charset="0"/>
                <a:cs typeface="Consolas" panose="020B0609020204030204" pitchFamily="49" charset="0"/>
                <a:hlinkClick r:id="rId4"/>
              </a:rPr>
              <a:t>/</a:t>
            </a:r>
            <a:r>
              <a:rPr lang="es-ES" sz="1100" dirty="0" err="1">
                <a:latin typeface="Consolas" panose="020B0609020204030204" pitchFamily="49" charset="0"/>
                <a:cs typeface="Consolas" panose="020B0609020204030204" pitchFamily="49" charset="0"/>
                <a:hlinkClick r:id="rId4"/>
              </a:rPr>
              <a:t>kafka-connect-elasticsearch-sink.json</a:t>
            </a:r>
            <a:endParaRPr lang="es-ES" sz="1100" dirty="0">
              <a:latin typeface="Consolas" panose="020B0609020204030204" pitchFamily="49" charset="0"/>
              <a:cs typeface="Consolas" panose="020B0609020204030204" pitchFamily="49" charset="0"/>
            </a:endParaRPr>
          </a:p>
          <a:p>
            <a:pPr marL="0" indent="0">
              <a:buNone/>
            </a:pPr>
            <a:endParaRPr lang="es-ES" dirty="0"/>
          </a:p>
        </p:txBody>
      </p:sp>
      <p:sp>
        <p:nvSpPr>
          <p:cNvPr id="5" name="Rectangle 58"/>
          <p:cNvSpPr/>
          <p:nvPr/>
        </p:nvSpPr>
        <p:spPr bwMode="gray">
          <a:xfrm>
            <a:off x="982661" y="4558128"/>
            <a:ext cx="4484820" cy="276999"/>
          </a:xfrm>
          <a:prstGeom prst="rect">
            <a:avLst/>
          </a:prstGeom>
          <a:noFill/>
        </p:spPr>
        <p:txBody>
          <a:bodyPr wrap="square" lIns="0" tIns="0" rIns="0" bIns="0" anchor="t" anchorCtr="0">
            <a:spAutoFit/>
          </a:bodyPr>
          <a:lstStyle/>
          <a:p>
            <a:r>
              <a:rPr lang="en-GB" sz="600" dirty="0">
                <a:solidFill>
                  <a:srgbClr val="000000"/>
                </a:solidFill>
                <a:cs typeface="Avenir Book"/>
              </a:rPr>
              <a:t>Source: </a:t>
            </a:r>
            <a:r>
              <a:rPr lang="en-GB" sz="600" dirty="0">
                <a:solidFill>
                  <a:srgbClr val="000000"/>
                </a:solidFill>
                <a:cs typeface="Avenir Book"/>
                <a:hlinkClick r:id="rId5"/>
              </a:rPr>
              <a:t>https://www.confluent.io/blog/simplest-useful-kafka-connect-data-pipeline-world-thereabouts-part-1/</a:t>
            </a:r>
            <a:endParaRPr lang="en-GB" sz="600" dirty="0">
              <a:solidFill>
                <a:srgbClr val="000000"/>
              </a:solidFill>
              <a:cs typeface="Avenir Book"/>
            </a:endParaRPr>
          </a:p>
          <a:p>
            <a:r>
              <a:rPr lang="en-GB" sz="600" dirty="0">
                <a:solidFill>
                  <a:srgbClr val="000000"/>
                </a:solidFill>
                <a:cs typeface="Avenir Book"/>
              </a:rPr>
              <a:t>              </a:t>
            </a:r>
            <a:r>
              <a:rPr lang="en-GB" sz="600" dirty="0">
                <a:solidFill>
                  <a:srgbClr val="000000"/>
                </a:solidFill>
                <a:cs typeface="Avenir Book"/>
                <a:hlinkClick r:id="rId6"/>
              </a:rPr>
              <a:t>https://www.confluent.io/blog/blogthe-simplest-useful-kafka-connect-data-pipeline-in-the-world-or-thereabouts-part-2/</a:t>
            </a:r>
            <a:endParaRPr lang="en-GB" sz="600" dirty="0">
              <a:solidFill>
                <a:srgbClr val="000000"/>
              </a:solidFill>
              <a:cs typeface="Avenir Book"/>
            </a:endParaRPr>
          </a:p>
          <a:p>
            <a:r>
              <a:rPr lang="en-GB" sz="600" dirty="0">
                <a:solidFill>
                  <a:srgbClr val="000000"/>
                </a:solidFill>
                <a:cs typeface="Avenir Book"/>
              </a:rPr>
              <a:t>              </a:t>
            </a:r>
            <a:r>
              <a:rPr lang="en-GB" sz="600" dirty="0">
                <a:solidFill>
                  <a:srgbClr val="000000"/>
                </a:solidFill>
                <a:cs typeface="Avenir Book"/>
                <a:hlinkClick r:id="rId7"/>
              </a:rPr>
              <a:t>https://www.confluent.io/blog/simplest-useful-kafka-connect-data-pipeline-world-thereabouts-part-3/</a:t>
            </a:r>
            <a:r>
              <a:rPr lang="en-GB" sz="600" dirty="0">
                <a:solidFill>
                  <a:srgbClr val="000000"/>
                </a:solidFill>
                <a:cs typeface="Avenir Book"/>
              </a:rPr>
              <a:t> </a:t>
            </a:r>
          </a:p>
        </p:txBody>
      </p:sp>
      <p:pic>
        <p:nvPicPr>
          <p:cNvPr id="51202" name="Picture 2" descr="https://www.confluent.io/wp-content/uploads/Kafka_connect-1024x436.jpg"/>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4341542" y="1560876"/>
            <a:ext cx="3822273" cy="162745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EDEM Escuela de Empresarios, Fundación de la Comunidad Valenciana -  Asociación Valenciana de Fundaciones de la CV">
            <a:extLst>
              <a:ext uri="{FF2B5EF4-FFF2-40B4-BE49-F238E27FC236}">
                <a16:creationId xmlns:a16="http://schemas.microsoft.com/office/drawing/2014/main" id="{B0F30C5F-FF36-435D-B70C-FB9F49FA94A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377791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5"/>
          </p:nvPr>
        </p:nvSpPr>
        <p:spPr>
          <a:xfrm>
            <a:off x="982662" y="3027095"/>
            <a:ext cx="7186612" cy="923330"/>
          </a:xfrm>
        </p:spPr>
        <p:txBody>
          <a:bodyPr/>
          <a:lstStyle/>
          <a:p>
            <a:pPr lvl="0"/>
            <a:r>
              <a:rPr lang="en-GB" dirty="0"/>
              <a:t>GFT </a:t>
            </a:r>
          </a:p>
          <a:p>
            <a:pPr lvl="0"/>
            <a:endParaRPr lang="en-GB" dirty="0"/>
          </a:p>
          <a:p>
            <a:pPr lvl="0"/>
            <a:r>
              <a:rPr lang="en-GB" dirty="0"/>
              <a:t>Rubén Sanchis</a:t>
            </a:r>
          </a:p>
          <a:p>
            <a:pPr lvl="0"/>
            <a:r>
              <a:rPr lang="en-GB" dirty="0"/>
              <a:t>Solution &amp; Data Architect</a:t>
            </a:r>
            <a:br>
              <a:rPr lang="en-GB" dirty="0"/>
            </a:br>
            <a:r>
              <a:rPr lang="en-GB" dirty="0"/>
              <a:t>ruben.sanchis@gft.com</a:t>
            </a:r>
          </a:p>
        </p:txBody>
      </p:sp>
      <p:sp>
        <p:nvSpPr>
          <p:cNvPr id="6" name="Text Placeholder 7">
            <a:extLst>
              <a:ext uri="{FF2B5EF4-FFF2-40B4-BE49-F238E27FC236}">
                <a16:creationId xmlns:a16="http://schemas.microsoft.com/office/drawing/2014/main" id="{59A3C730-3535-4B4E-95F7-9F4CBFD17A7D}"/>
              </a:ext>
            </a:extLst>
          </p:cNvPr>
          <p:cNvSpPr>
            <a:spLocks noGrp="1"/>
          </p:cNvSpPr>
          <p:nvPr>
            <p:ph type="body" sz="quarter" idx="13"/>
          </p:nvPr>
        </p:nvSpPr>
        <p:spPr>
          <a:xfrm>
            <a:off x="982662" y="2271295"/>
            <a:ext cx="7191172" cy="387798"/>
          </a:xfrm>
        </p:spPr>
        <p:txBody>
          <a:bodyPr/>
          <a:lstStyle/>
          <a:p>
            <a:r>
              <a:rPr lang="en-US" sz="2800" dirty="0"/>
              <a:t>EDEM Edition 2021</a:t>
            </a:r>
          </a:p>
        </p:txBody>
      </p:sp>
    </p:spTree>
    <p:custDataLst>
      <p:tags r:id="rId1"/>
    </p:custDataLst>
    <p:extLst>
      <p:ext uri="{BB962C8B-B14F-4D97-AF65-F5344CB8AC3E}">
        <p14:creationId xmlns:p14="http://schemas.microsoft.com/office/powerpoint/2010/main" val="360881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2"/>
          </p:nvPr>
        </p:nvSpPr>
        <p:spPr/>
        <p:txBody>
          <a:bodyPr/>
          <a:lstStyle/>
          <a:p>
            <a:pPr defTabSz="685800"/>
            <a:fld id="{DBEF86FA-B96D-4345-BDDC-824718EE4D18}" type="datetime1">
              <a:rPr lang="en-GB" smtClean="0"/>
              <a:t>02/12/2021</a:t>
            </a:fld>
            <a:endParaRPr lang="en-GB" dirty="0"/>
          </a:p>
        </p:txBody>
      </p:sp>
      <p:sp>
        <p:nvSpPr>
          <p:cNvPr id="9" name="Text Placeholder 8"/>
          <p:cNvSpPr>
            <a:spLocks noGrp="1"/>
          </p:cNvSpPr>
          <p:nvPr>
            <p:ph type="body" sz="quarter" idx="12"/>
          </p:nvPr>
        </p:nvSpPr>
        <p:spPr/>
        <p:txBody>
          <a:bodyPr/>
          <a:lstStyle/>
          <a:p>
            <a:endParaRPr lang="en-US"/>
          </a:p>
        </p:txBody>
      </p:sp>
      <p:sp>
        <p:nvSpPr>
          <p:cNvPr id="6" name="Footer Placeholder 5"/>
          <p:cNvSpPr>
            <a:spLocks noGrp="1"/>
          </p:cNvSpPr>
          <p:nvPr>
            <p:ph type="ftr" sz="quarter" idx="4294967295"/>
          </p:nvPr>
        </p:nvSpPr>
        <p:spPr>
          <a:xfrm>
            <a:off x="0" y="85725"/>
            <a:ext cx="720725" cy="249238"/>
          </a:xfrm>
        </p:spPr>
        <p:txBody>
          <a:bodyPr/>
          <a:lstStyle/>
          <a:p>
            <a:r>
              <a:rPr lang="en-US"/>
              <a:t>Type here if  add info needed  for every slide</a:t>
            </a:r>
            <a:endParaRPr lang="en-US" dirty="0"/>
          </a:p>
        </p:txBody>
      </p:sp>
      <p:pic>
        <p:nvPicPr>
          <p:cNvPr id="132098" name="Picture 2" descr="Resultado de imagen de kafka guide pd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07001" y="560699"/>
            <a:ext cx="3035675" cy="397586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a:xfrm>
            <a:off x="1418665" y="4536559"/>
            <a:ext cx="7194176" cy="369332"/>
          </a:xfrm>
          <a:prstGeom prst="rect">
            <a:avLst/>
          </a:prstGeom>
        </p:spPr>
        <p:txBody>
          <a:bodyPr wrap="square">
            <a:spAutoFit/>
          </a:bodyPr>
          <a:lstStyle/>
          <a:p>
            <a:r>
              <a:rPr lang="en-US" dirty="0">
                <a:hlinkClick r:id="rId3"/>
              </a:rPr>
              <a:t>https://www.confluent.io/resources/kafka-the-definitive-guide/</a:t>
            </a:r>
            <a:endParaRPr lang="en-US" dirty="0"/>
          </a:p>
        </p:txBody>
      </p:sp>
      <p:pic>
        <p:nvPicPr>
          <p:cNvPr id="7" name="Picture 2" descr="EDEM Escuela de Empresarios, Fundación de la Comunidad Valenciana -  Asociación Valenciana de Fundaciones de la CV">
            <a:extLst>
              <a:ext uri="{FF2B5EF4-FFF2-40B4-BE49-F238E27FC236}">
                <a16:creationId xmlns:a16="http://schemas.microsoft.com/office/drawing/2014/main" id="{82FF0426-ADCB-4A3F-90C6-8001ED9730B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84701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2"/>
          </p:nvPr>
        </p:nvSpPr>
        <p:spPr/>
        <p:txBody>
          <a:bodyPr/>
          <a:lstStyle/>
          <a:p>
            <a:pPr defTabSz="685800"/>
            <a:fld id="{F083F41A-041A-4006-B4DB-57C47C38AE86}" type="datetime1">
              <a:rPr lang="en-GB" smtClean="0"/>
              <a:t>02/12/2021</a:t>
            </a:fld>
            <a:endParaRPr lang="en-GB" dirty="0"/>
          </a:p>
        </p:txBody>
      </p:sp>
      <p:sp>
        <p:nvSpPr>
          <p:cNvPr id="5" name="Text Placeholder 4"/>
          <p:cNvSpPr>
            <a:spLocks noGrp="1"/>
          </p:cNvSpPr>
          <p:nvPr>
            <p:ph type="body" sz="quarter" idx="12"/>
          </p:nvPr>
        </p:nvSpPr>
        <p:spPr/>
        <p:txBody>
          <a:bodyPr/>
          <a:lstStyle/>
          <a:p>
            <a:endParaRPr lang="en-US"/>
          </a:p>
        </p:txBody>
      </p:sp>
      <p:sp>
        <p:nvSpPr>
          <p:cNvPr id="6" name="Footer Placeholder 5"/>
          <p:cNvSpPr>
            <a:spLocks noGrp="1"/>
          </p:cNvSpPr>
          <p:nvPr>
            <p:ph type="ftr" sz="quarter" idx="13"/>
          </p:nvPr>
        </p:nvSpPr>
        <p:spPr/>
        <p:txBody>
          <a:bodyPr/>
          <a:lstStyle/>
          <a:p>
            <a:r>
              <a:rPr lang="en-US"/>
              <a:t>Type here if  add info needed  for every slide</a:t>
            </a:r>
            <a:endParaRPr lang="en-US" dirty="0"/>
          </a:p>
        </p:txBody>
      </p:sp>
      <p:sp>
        <p:nvSpPr>
          <p:cNvPr id="7" name="Rectangle 6"/>
          <p:cNvSpPr/>
          <p:nvPr/>
        </p:nvSpPr>
        <p:spPr>
          <a:xfrm>
            <a:off x="892273" y="1533478"/>
            <a:ext cx="4898812" cy="1115690"/>
          </a:xfrm>
          <a:prstGeom prst="rect">
            <a:avLst/>
          </a:prstGeom>
        </p:spPr>
        <p:txBody>
          <a:bodyPr wrap="square">
            <a:spAutoFit/>
          </a:bodyPr>
          <a:lstStyle/>
          <a:p>
            <a:r>
              <a:rPr lang="en-US" sz="1400" b="1" dirty="0">
                <a:latin typeface="Arial" panose="020B0604020202020204" pitchFamily="34" charset="0"/>
              </a:rPr>
              <a:t>Point to Point Messaging System</a:t>
            </a:r>
          </a:p>
          <a:p>
            <a:r>
              <a:rPr lang="en-US" sz="1050" dirty="0">
                <a:solidFill>
                  <a:srgbClr val="000000"/>
                </a:solidFill>
                <a:latin typeface="Arial" panose="020B0604020202020204" pitchFamily="34" charset="0"/>
              </a:rPr>
              <a:t>In a point-to-point system, messages are persisted in a queue. One or more consumers can consume the messages in the queue, but a particular message can be consumed by a maximum of one consumer only. </a:t>
            </a:r>
          </a:p>
          <a:p>
            <a:r>
              <a:rPr lang="en-US" sz="1050" dirty="0">
                <a:solidFill>
                  <a:srgbClr val="000000"/>
                </a:solidFill>
                <a:latin typeface="Arial" panose="020B0604020202020204" pitchFamily="34" charset="0"/>
              </a:rPr>
              <a:t>Once a consumer reads a message in the queue, it disappears from that queue.</a:t>
            </a:r>
          </a:p>
        </p:txBody>
      </p:sp>
      <p:sp>
        <p:nvSpPr>
          <p:cNvPr id="10" name="Titel 1"/>
          <p:cNvSpPr>
            <a:spLocks noGrp="1"/>
          </p:cNvSpPr>
          <p:nvPr>
            <p:ph type="title"/>
          </p:nvPr>
        </p:nvSpPr>
        <p:spPr>
          <a:xfrm>
            <a:off x="978102" y="630238"/>
            <a:ext cx="7937298" cy="332399"/>
          </a:xfrm>
        </p:spPr>
        <p:txBody>
          <a:bodyPr/>
          <a:lstStyle/>
          <a:p>
            <a:r>
              <a:rPr lang="en-US" sz="2400" dirty="0">
                <a:latin typeface="Arial" panose="020B0604020202020204" pitchFamily="34" charset="0"/>
              </a:rPr>
              <a:t>Messaging Systems</a:t>
            </a:r>
          </a:p>
        </p:txBody>
      </p:sp>
      <p:grpSp>
        <p:nvGrpSpPr>
          <p:cNvPr id="11" name="Group 10"/>
          <p:cNvGrpSpPr/>
          <p:nvPr/>
        </p:nvGrpSpPr>
        <p:grpSpPr>
          <a:xfrm>
            <a:off x="5924815" y="1668078"/>
            <a:ext cx="464806" cy="574698"/>
            <a:chOff x="7891893" y="1185046"/>
            <a:chExt cx="517067" cy="599797"/>
          </a:xfrm>
        </p:grpSpPr>
        <p:grpSp>
          <p:nvGrpSpPr>
            <p:cNvPr id="12" name="Group 11"/>
            <p:cNvGrpSpPr/>
            <p:nvPr/>
          </p:nvGrpSpPr>
          <p:grpSpPr>
            <a:xfrm>
              <a:off x="7891893" y="1185046"/>
              <a:ext cx="517067" cy="599797"/>
              <a:chOff x="6708741" y="967041"/>
              <a:chExt cx="1144680" cy="1327828"/>
            </a:xfrm>
          </p:grpSpPr>
          <p:sp>
            <p:nvSpPr>
              <p:cNvPr id="14" name="Hexagon 13"/>
              <p:cNvSpPr/>
              <p:nvPr/>
            </p:nvSpPr>
            <p:spPr>
              <a:xfrm rot="16200000">
                <a:off x="6617167" y="1058615"/>
                <a:ext cx="1327828" cy="1144680"/>
              </a:xfrm>
              <a:prstGeom prst="hexagon">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5" name="Hexagon 14"/>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grpSp>
        <p:sp>
          <p:nvSpPr>
            <p:cNvPr id="13" name="TextBox 12"/>
            <p:cNvSpPr txBox="1"/>
            <p:nvPr/>
          </p:nvSpPr>
          <p:spPr>
            <a:xfrm>
              <a:off x="7964969" y="1438777"/>
              <a:ext cx="370914" cy="128488"/>
            </a:xfrm>
            <a:prstGeom prst="rect">
              <a:avLst/>
            </a:prstGeom>
            <a:noFill/>
          </p:spPr>
          <p:txBody>
            <a:bodyPr wrap="none" lIns="0" tIns="0" rIns="0" bIns="0" rtlCol="0">
              <a:spAutoFit/>
            </a:bodyPr>
            <a:lstStyle/>
            <a:p>
              <a:r>
                <a:rPr lang="es-ES" sz="800" dirty="0"/>
                <a:t>Sender</a:t>
              </a:r>
              <a:endParaRPr lang="en-GB" dirty="0" err="1"/>
            </a:p>
          </p:txBody>
        </p:sp>
      </p:grpSp>
      <p:cxnSp>
        <p:nvCxnSpPr>
          <p:cNvPr id="16" name="Straight Arrow Connector 15"/>
          <p:cNvCxnSpPr/>
          <p:nvPr/>
        </p:nvCxnSpPr>
        <p:spPr bwMode="gray">
          <a:xfrm flipV="1">
            <a:off x="6459171" y="1948476"/>
            <a:ext cx="412309" cy="4992"/>
          </a:xfrm>
          <a:prstGeom prst="straightConnector1">
            <a:avLst/>
          </a:prstGeom>
          <a:ln w="19050">
            <a:solidFill>
              <a:schemeClr val="accent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8152965" y="1666119"/>
            <a:ext cx="464806" cy="574698"/>
            <a:chOff x="7891893" y="1185046"/>
            <a:chExt cx="517067" cy="599797"/>
          </a:xfrm>
        </p:grpSpPr>
        <p:grpSp>
          <p:nvGrpSpPr>
            <p:cNvPr id="19" name="Group 18"/>
            <p:cNvGrpSpPr/>
            <p:nvPr/>
          </p:nvGrpSpPr>
          <p:grpSpPr>
            <a:xfrm>
              <a:off x="7891893" y="1185046"/>
              <a:ext cx="517067" cy="599797"/>
              <a:chOff x="6708741" y="967041"/>
              <a:chExt cx="1144680" cy="1327828"/>
            </a:xfrm>
          </p:grpSpPr>
          <p:sp>
            <p:nvSpPr>
              <p:cNvPr id="21" name="Hexagon 20"/>
              <p:cNvSpPr/>
              <p:nvPr/>
            </p:nvSpPr>
            <p:spPr>
              <a:xfrm rot="16200000">
                <a:off x="6617167" y="1058615"/>
                <a:ext cx="1327828" cy="1144680"/>
              </a:xfrm>
              <a:prstGeom prst="hexagon">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22" name="Hexagon 21"/>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grpSp>
        <p:sp>
          <p:nvSpPr>
            <p:cNvPr id="20" name="TextBox 19"/>
            <p:cNvSpPr txBox="1"/>
            <p:nvPr/>
          </p:nvSpPr>
          <p:spPr>
            <a:xfrm>
              <a:off x="7980127" y="1436760"/>
              <a:ext cx="340599" cy="96365"/>
            </a:xfrm>
            <a:prstGeom prst="rect">
              <a:avLst/>
            </a:prstGeom>
            <a:noFill/>
          </p:spPr>
          <p:txBody>
            <a:bodyPr wrap="none" lIns="0" tIns="0" rIns="0" bIns="0" rtlCol="0">
              <a:spAutoFit/>
            </a:bodyPr>
            <a:lstStyle/>
            <a:p>
              <a:r>
                <a:rPr lang="es-ES" sz="600" dirty="0"/>
                <a:t>Receiver</a:t>
              </a:r>
              <a:endParaRPr lang="en-GB" sz="1400" dirty="0" err="1"/>
            </a:p>
          </p:txBody>
        </p:sp>
      </p:grpSp>
      <p:sp>
        <p:nvSpPr>
          <p:cNvPr id="9" name="Can 8"/>
          <p:cNvSpPr/>
          <p:nvPr/>
        </p:nvSpPr>
        <p:spPr>
          <a:xfrm rot="5400000">
            <a:off x="7081385" y="1642625"/>
            <a:ext cx="315310" cy="611702"/>
          </a:xfrm>
          <a:prstGeom prst="can">
            <a:avLst/>
          </a:prstGeom>
          <a:solidFill>
            <a:schemeClr val="accent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200" dirty="0">
              <a:solidFill>
                <a:schemeClr val="tx1"/>
              </a:solidFill>
            </a:endParaRPr>
          </a:p>
        </p:txBody>
      </p:sp>
      <p:cxnSp>
        <p:nvCxnSpPr>
          <p:cNvPr id="26" name="Straight Arrow Connector 25"/>
          <p:cNvCxnSpPr/>
          <p:nvPr/>
        </p:nvCxnSpPr>
        <p:spPr bwMode="gray">
          <a:xfrm flipV="1">
            <a:off x="7646368" y="1950435"/>
            <a:ext cx="412309" cy="4992"/>
          </a:xfrm>
          <a:prstGeom prst="straightConnector1">
            <a:avLst/>
          </a:prstGeom>
          <a:ln w="19050">
            <a:solidFill>
              <a:schemeClr val="accent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18790" name="Picture 6" descr="Resultado de imagen de envelope icon blu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6537713" y="1715288"/>
            <a:ext cx="182880" cy="18288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6" descr="Resultado de imagen de envelope icon blu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7756302" y="1731273"/>
            <a:ext cx="182880" cy="182880"/>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p:nvPr/>
        </p:nvSpPr>
        <p:spPr>
          <a:xfrm>
            <a:off x="892771" y="3083604"/>
            <a:ext cx="4822373" cy="1115690"/>
          </a:xfrm>
          <a:prstGeom prst="rect">
            <a:avLst/>
          </a:prstGeom>
        </p:spPr>
        <p:txBody>
          <a:bodyPr wrap="square">
            <a:spAutoFit/>
          </a:bodyPr>
          <a:lstStyle/>
          <a:p>
            <a:r>
              <a:rPr lang="en-US" sz="1400" b="1" dirty="0">
                <a:latin typeface="Arial" panose="020B0604020202020204" pitchFamily="34" charset="0"/>
              </a:rPr>
              <a:t>Publish-Subscribe Messaging System</a:t>
            </a:r>
          </a:p>
          <a:p>
            <a:r>
              <a:rPr lang="en-US" sz="1050" dirty="0">
                <a:solidFill>
                  <a:srgbClr val="000000"/>
                </a:solidFill>
                <a:latin typeface="Arial" panose="020B0604020202020204" pitchFamily="34" charset="0"/>
              </a:rPr>
              <a:t>In the publish-subscribe system, messages are persisted in a topic. Unlike point-to-point system, consumers can subscribe to one or more topic and consume all the messages in that topic. In the Publish-Subscribe system, message producers are called publishers and message consumers are called subscribers. </a:t>
            </a:r>
            <a:endParaRPr lang="en-US" sz="1600" dirty="0">
              <a:solidFill>
                <a:srgbClr val="000000"/>
              </a:solidFill>
              <a:latin typeface="Arial" panose="020B0604020202020204" pitchFamily="34" charset="0"/>
            </a:endParaRPr>
          </a:p>
        </p:txBody>
      </p:sp>
      <p:sp>
        <p:nvSpPr>
          <p:cNvPr id="66" name="Freihandform: Form 36">
            <a:extLst>
              <a:ext uri="{FF2B5EF4-FFF2-40B4-BE49-F238E27FC236}">
                <a16:creationId xmlns:a16="http://schemas.microsoft.com/office/drawing/2014/main" id="{DC2E0EB4-E641-4473-978D-99F90FEE1B6D}"/>
              </a:ext>
            </a:extLst>
          </p:cNvPr>
          <p:cNvSpPr>
            <a:spLocks/>
          </p:cNvSpPr>
          <p:nvPr/>
        </p:nvSpPr>
        <p:spPr bwMode="gray">
          <a:xfrm>
            <a:off x="892771" y="957175"/>
            <a:ext cx="144000" cy="144000"/>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dirty="0">
              <a:solidFill>
                <a:schemeClr val="tx1"/>
              </a:solidFill>
            </a:endParaRPr>
          </a:p>
        </p:txBody>
      </p:sp>
      <p:grpSp>
        <p:nvGrpSpPr>
          <p:cNvPr id="59" name="Group 58"/>
          <p:cNvGrpSpPr/>
          <p:nvPr/>
        </p:nvGrpSpPr>
        <p:grpSpPr>
          <a:xfrm>
            <a:off x="5925026" y="3089438"/>
            <a:ext cx="2823160" cy="1629686"/>
            <a:chOff x="2502809" y="3260570"/>
            <a:chExt cx="2823160" cy="1629686"/>
          </a:xfrm>
        </p:grpSpPr>
        <p:grpSp>
          <p:nvGrpSpPr>
            <p:cNvPr id="31" name="Group 30"/>
            <p:cNvGrpSpPr/>
            <p:nvPr/>
          </p:nvGrpSpPr>
          <p:grpSpPr>
            <a:xfrm>
              <a:off x="2502809" y="3770105"/>
              <a:ext cx="464806" cy="574698"/>
              <a:chOff x="7891893" y="1185046"/>
              <a:chExt cx="517067" cy="599797"/>
            </a:xfrm>
          </p:grpSpPr>
          <p:grpSp>
            <p:nvGrpSpPr>
              <p:cNvPr id="32" name="Group 31"/>
              <p:cNvGrpSpPr/>
              <p:nvPr/>
            </p:nvGrpSpPr>
            <p:grpSpPr>
              <a:xfrm>
                <a:off x="7891893" y="1185046"/>
                <a:ext cx="517067" cy="599797"/>
                <a:chOff x="6708741" y="967041"/>
                <a:chExt cx="1144680" cy="1327828"/>
              </a:xfrm>
            </p:grpSpPr>
            <p:sp>
              <p:nvSpPr>
                <p:cNvPr id="34" name="Hexagon 33"/>
                <p:cNvSpPr/>
                <p:nvPr/>
              </p:nvSpPr>
              <p:spPr>
                <a:xfrm rot="16200000">
                  <a:off x="6617167" y="1058615"/>
                  <a:ext cx="1327828" cy="1144680"/>
                </a:xfrm>
                <a:prstGeom prst="hexagon">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35" name="Hexagon 34"/>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grpSp>
          <p:sp>
            <p:nvSpPr>
              <p:cNvPr id="33" name="TextBox 32"/>
              <p:cNvSpPr txBox="1"/>
              <p:nvPr/>
            </p:nvSpPr>
            <p:spPr>
              <a:xfrm>
                <a:off x="7964969" y="1438777"/>
                <a:ext cx="370914" cy="128488"/>
              </a:xfrm>
              <a:prstGeom prst="rect">
                <a:avLst/>
              </a:prstGeom>
              <a:noFill/>
            </p:spPr>
            <p:txBody>
              <a:bodyPr wrap="none" lIns="0" tIns="0" rIns="0" bIns="0" rtlCol="0">
                <a:spAutoFit/>
              </a:bodyPr>
              <a:lstStyle/>
              <a:p>
                <a:r>
                  <a:rPr lang="es-ES" sz="800" dirty="0"/>
                  <a:t>Sender</a:t>
                </a:r>
                <a:endParaRPr lang="en-GB" dirty="0" err="1"/>
              </a:p>
            </p:txBody>
          </p:sp>
        </p:grpSp>
        <p:cxnSp>
          <p:nvCxnSpPr>
            <p:cNvPr id="36" name="Straight Arrow Connector 35"/>
            <p:cNvCxnSpPr/>
            <p:nvPr/>
          </p:nvCxnSpPr>
          <p:spPr bwMode="gray">
            <a:xfrm flipV="1">
              <a:off x="3037165" y="4050503"/>
              <a:ext cx="412309" cy="4992"/>
            </a:xfrm>
            <a:prstGeom prst="straightConnector1">
              <a:avLst/>
            </a:prstGeom>
            <a:ln w="19050">
              <a:solidFill>
                <a:schemeClr val="accent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7" name="Group 36"/>
            <p:cNvGrpSpPr/>
            <p:nvPr/>
          </p:nvGrpSpPr>
          <p:grpSpPr>
            <a:xfrm>
              <a:off x="4861163" y="3758162"/>
              <a:ext cx="464806" cy="574698"/>
              <a:chOff x="7891893" y="1185046"/>
              <a:chExt cx="517067" cy="599797"/>
            </a:xfrm>
          </p:grpSpPr>
          <p:grpSp>
            <p:nvGrpSpPr>
              <p:cNvPr id="38" name="Group 37"/>
              <p:cNvGrpSpPr/>
              <p:nvPr/>
            </p:nvGrpSpPr>
            <p:grpSpPr>
              <a:xfrm>
                <a:off x="7891893" y="1185046"/>
                <a:ext cx="517067" cy="599797"/>
                <a:chOff x="6708741" y="967041"/>
                <a:chExt cx="1144680" cy="1327828"/>
              </a:xfrm>
            </p:grpSpPr>
            <p:sp>
              <p:nvSpPr>
                <p:cNvPr id="40" name="Hexagon 39"/>
                <p:cNvSpPr/>
                <p:nvPr/>
              </p:nvSpPr>
              <p:spPr>
                <a:xfrm rot="16200000">
                  <a:off x="6617167" y="1058615"/>
                  <a:ext cx="1327828" cy="1144680"/>
                </a:xfrm>
                <a:prstGeom prst="hexagon">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41" name="Hexagon 40"/>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grpSp>
          <p:sp>
            <p:nvSpPr>
              <p:cNvPr id="39" name="TextBox 38"/>
              <p:cNvSpPr txBox="1"/>
              <p:nvPr/>
            </p:nvSpPr>
            <p:spPr>
              <a:xfrm>
                <a:off x="7980127" y="1436760"/>
                <a:ext cx="340599" cy="96365"/>
              </a:xfrm>
              <a:prstGeom prst="rect">
                <a:avLst/>
              </a:prstGeom>
              <a:noFill/>
            </p:spPr>
            <p:txBody>
              <a:bodyPr wrap="none" lIns="0" tIns="0" rIns="0" bIns="0" rtlCol="0">
                <a:spAutoFit/>
              </a:bodyPr>
              <a:lstStyle/>
              <a:p>
                <a:r>
                  <a:rPr lang="es-ES" sz="600" dirty="0"/>
                  <a:t>Receiver</a:t>
                </a:r>
                <a:endParaRPr lang="en-GB" sz="1400" dirty="0" err="1"/>
              </a:p>
            </p:txBody>
          </p:sp>
        </p:grpSp>
        <p:sp>
          <p:nvSpPr>
            <p:cNvPr id="42" name="Can 41"/>
            <p:cNvSpPr/>
            <p:nvPr/>
          </p:nvSpPr>
          <p:spPr>
            <a:xfrm rot="5400000">
              <a:off x="3659379" y="3744652"/>
              <a:ext cx="315310" cy="611702"/>
            </a:xfrm>
            <a:prstGeom prst="can">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200" dirty="0">
                <a:solidFill>
                  <a:schemeClr val="tx1"/>
                </a:solidFill>
              </a:endParaRPr>
            </a:p>
          </p:txBody>
        </p:sp>
        <p:pic>
          <p:nvPicPr>
            <p:cNvPr id="43" name="Picture 6" descr="Resultado de imagen de envelope icon blu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3115707" y="3817315"/>
              <a:ext cx="182880" cy="182880"/>
            </a:xfrm>
            <a:prstGeom prst="rect">
              <a:avLst/>
            </a:prstGeom>
            <a:noFill/>
            <a:extLst>
              <a:ext uri="{909E8E84-426E-40DD-AFC4-6F175D3DCCD1}">
                <a14:hiddenFill xmlns:a14="http://schemas.microsoft.com/office/drawing/2010/main">
                  <a:solidFill>
                    <a:srgbClr val="FFFFFF"/>
                  </a:solidFill>
                </a14:hiddenFill>
              </a:ext>
            </a:extLst>
          </p:spPr>
        </p:pic>
        <p:cxnSp>
          <p:nvCxnSpPr>
            <p:cNvPr id="45" name="Straight Arrow Connector 44"/>
            <p:cNvCxnSpPr/>
            <p:nvPr/>
          </p:nvCxnSpPr>
          <p:spPr bwMode="gray">
            <a:xfrm flipV="1">
              <a:off x="4211758" y="4045511"/>
              <a:ext cx="412309" cy="4992"/>
            </a:xfrm>
            <a:prstGeom prst="straightConnector1">
              <a:avLst/>
            </a:prstGeom>
            <a:ln w="19050">
              <a:solidFill>
                <a:schemeClr val="accent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4542091" y="3260570"/>
              <a:ext cx="464806" cy="574698"/>
              <a:chOff x="7891893" y="1185046"/>
              <a:chExt cx="517067" cy="599797"/>
            </a:xfrm>
          </p:grpSpPr>
          <p:grpSp>
            <p:nvGrpSpPr>
              <p:cNvPr id="47" name="Group 46"/>
              <p:cNvGrpSpPr/>
              <p:nvPr/>
            </p:nvGrpSpPr>
            <p:grpSpPr>
              <a:xfrm>
                <a:off x="7891893" y="1185046"/>
                <a:ext cx="517067" cy="599797"/>
                <a:chOff x="6708741" y="967041"/>
                <a:chExt cx="1144680" cy="1327828"/>
              </a:xfrm>
            </p:grpSpPr>
            <p:sp>
              <p:nvSpPr>
                <p:cNvPr id="49" name="Hexagon 48"/>
                <p:cNvSpPr/>
                <p:nvPr/>
              </p:nvSpPr>
              <p:spPr>
                <a:xfrm rot="16200000">
                  <a:off x="6617167" y="1058615"/>
                  <a:ext cx="1327828" cy="1144680"/>
                </a:xfrm>
                <a:prstGeom prst="hexagon">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50" name="Hexagon 49"/>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grpSp>
          <p:sp>
            <p:nvSpPr>
              <p:cNvPr id="48" name="TextBox 47"/>
              <p:cNvSpPr txBox="1"/>
              <p:nvPr/>
            </p:nvSpPr>
            <p:spPr>
              <a:xfrm>
                <a:off x="7980127" y="1436760"/>
                <a:ext cx="340599" cy="96365"/>
              </a:xfrm>
              <a:prstGeom prst="rect">
                <a:avLst/>
              </a:prstGeom>
              <a:noFill/>
            </p:spPr>
            <p:txBody>
              <a:bodyPr wrap="none" lIns="0" tIns="0" rIns="0" bIns="0" rtlCol="0">
                <a:spAutoFit/>
              </a:bodyPr>
              <a:lstStyle/>
              <a:p>
                <a:r>
                  <a:rPr lang="es-ES" sz="600" dirty="0"/>
                  <a:t>Receiver</a:t>
                </a:r>
                <a:endParaRPr lang="en-GB" sz="1400" dirty="0" err="1"/>
              </a:p>
            </p:txBody>
          </p:sp>
        </p:grpSp>
        <p:grpSp>
          <p:nvGrpSpPr>
            <p:cNvPr id="51" name="Group 50"/>
            <p:cNvGrpSpPr/>
            <p:nvPr/>
          </p:nvGrpSpPr>
          <p:grpSpPr>
            <a:xfrm>
              <a:off x="4742670" y="4315558"/>
              <a:ext cx="464806" cy="574698"/>
              <a:chOff x="7891893" y="1185046"/>
              <a:chExt cx="517067" cy="599797"/>
            </a:xfrm>
          </p:grpSpPr>
          <p:grpSp>
            <p:nvGrpSpPr>
              <p:cNvPr id="52" name="Group 51"/>
              <p:cNvGrpSpPr/>
              <p:nvPr/>
            </p:nvGrpSpPr>
            <p:grpSpPr>
              <a:xfrm>
                <a:off x="7891893" y="1185046"/>
                <a:ext cx="517067" cy="599797"/>
                <a:chOff x="6708741" y="967041"/>
                <a:chExt cx="1144680" cy="1327828"/>
              </a:xfrm>
            </p:grpSpPr>
            <p:sp>
              <p:nvSpPr>
                <p:cNvPr id="54" name="Hexagon 53"/>
                <p:cNvSpPr/>
                <p:nvPr/>
              </p:nvSpPr>
              <p:spPr>
                <a:xfrm rot="16200000">
                  <a:off x="6617167" y="1058615"/>
                  <a:ext cx="1327828" cy="1144680"/>
                </a:xfrm>
                <a:prstGeom prst="hexagon">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55" name="Hexagon 54"/>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grpSp>
          <p:sp>
            <p:nvSpPr>
              <p:cNvPr id="53" name="TextBox 52"/>
              <p:cNvSpPr txBox="1"/>
              <p:nvPr/>
            </p:nvSpPr>
            <p:spPr>
              <a:xfrm>
                <a:off x="7980127" y="1436760"/>
                <a:ext cx="340599" cy="96365"/>
              </a:xfrm>
              <a:prstGeom prst="rect">
                <a:avLst/>
              </a:prstGeom>
              <a:noFill/>
            </p:spPr>
            <p:txBody>
              <a:bodyPr wrap="none" lIns="0" tIns="0" rIns="0" bIns="0" rtlCol="0">
                <a:spAutoFit/>
              </a:bodyPr>
              <a:lstStyle/>
              <a:p>
                <a:r>
                  <a:rPr lang="es-ES" sz="600" dirty="0"/>
                  <a:t>Receiver</a:t>
                </a:r>
                <a:endParaRPr lang="en-GB" sz="1400" dirty="0" err="1"/>
              </a:p>
            </p:txBody>
          </p:sp>
        </p:grpSp>
        <p:cxnSp>
          <p:nvCxnSpPr>
            <p:cNvPr id="56" name="Straight Arrow Connector 55"/>
            <p:cNvCxnSpPr/>
            <p:nvPr/>
          </p:nvCxnSpPr>
          <p:spPr bwMode="gray">
            <a:xfrm flipV="1">
              <a:off x="4230170" y="3858104"/>
              <a:ext cx="349579" cy="136126"/>
            </a:xfrm>
            <a:prstGeom prst="straightConnector1">
              <a:avLst/>
            </a:prstGeom>
            <a:ln w="19050">
              <a:solidFill>
                <a:schemeClr val="accent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bwMode="gray">
            <a:xfrm>
              <a:off x="4224362" y="4117150"/>
              <a:ext cx="409169" cy="160513"/>
            </a:xfrm>
            <a:prstGeom prst="straightConnector1">
              <a:avLst/>
            </a:prstGeom>
            <a:ln w="19050">
              <a:solidFill>
                <a:schemeClr val="accent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63" name="Picture 6" descr="Resultado de imagen de envelope icon blu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4379305" y="3686934"/>
              <a:ext cx="182880" cy="182880"/>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6" descr="Resultado de imagen de envelope icon blu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4542091" y="4301114"/>
              <a:ext cx="182880" cy="182880"/>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6" descr="Resultado de imagen de envelope icon blu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flipH="1">
              <a:off x="4632885" y="3965368"/>
              <a:ext cx="182880" cy="175262"/>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6" descr="Resultado de imagen de envelope icon blu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3703104" y="3953449"/>
              <a:ext cx="182880" cy="182880"/>
            </a:xfrm>
            <a:prstGeom prst="rect">
              <a:avLst/>
            </a:prstGeom>
            <a:noFill/>
            <a:extLst>
              <a:ext uri="{909E8E84-426E-40DD-AFC4-6F175D3DCCD1}">
                <a14:hiddenFill xmlns:a14="http://schemas.microsoft.com/office/drawing/2010/main">
                  <a:solidFill>
                    <a:srgbClr val="FFFFFF"/>
                  </a:solidFill>
                </a14:hiddenFill>
              </a:ext>
            </a:extLst>
          </p:spPr>
        </p:pic>
      </p:grpSp>
      <p:pic>
        <p:nvPicPr>
          <p:cNvPr id="57" name="Picture 2" descr="EDEM Escuela de Empresarios, Fundación de la Comunidad Valenciana -  Asociación Valenciana de Fundaciones de la CV">
            <a:extLst>
              <a:ext uri="{FF2B5EF4-FFF2-40B4-BE49-F238E27FC236}">
                <a16:creationId xmlns:a16="http://schemas.microsoft.com/office/drawing/2014/main" id="{F77BD207-3010-425A-8BCA-F0D544B38C5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86929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2"/>
          </p:nvPr>
        </p:nvSpPr>
        <p:spPr/>
        <p:txBody>
          <a:bodyPr/>
          <a:lstStyle/>
          <a:p>
            <a:pPr defTabSz="685800"/>
            <a:fld id="{F083F41A-041A-4006-B4DB-57C47C38AE86}" type="datetime1">
              <a:rPr lang="en-GB" smtClean="0"/>
              <a:t>02/12/2021</a:t>
            </a:fld>
            <a:endParaRPr lang="en-GB" dirty="0"/>
          </a:p>
        </p:txBody>
      </p:sp>
      <p:sp>
        <p:nvSpPr>
          <p:cNvPr id="5" name="Text Placeholder 4"/>
          <p:cNvSpPr>
            <a:spLocks noGrp="1"/>
          </p:cNvSpPr>
          <p:nvPr>
            <p:ph type="body" sz="quarter" idx="12"/>
          </p:nvPr>
        </p:nvSpPr>
        <p:spPr/>
        <p:txBody>
          <a:bodyPr/>
          <a:lstStyle/>
          <a:p>
            <a:endParaRPr lang="en-US"/>
          </a:p>
        </p:txBody>
      </p:sp>
      <p:sp>
        <p:nvSpPr>
          <p:cNvPr id="6" name="Footer Placeholder 5"/>
          <p:cNvSpPr>
            <a:spLocks noGrp="1"/>
          </p:cNvSpPr>
          <p:nvPr>
            <p:ph type="ftr" sz="quarter" idx="13"/>
          </p:nvPr>
        </p:nvSpPr>
        <p:spPr/>
        <p:txBody>
          <a:bodyPr/>
          <a:lstStyle/>
          <a:p>
            <a:r>
              <a:rPr lang="en-US"/>
              <a:t>Type here if  add info needed  for every slide</a:t>
            </a:r>
            <a:endParaRPr lang="en-US" dirty="0"/>
          </a:p>
        </p:txBody>
      </p:sp>
      <p:sp>
        <p:nvSpPr>
          <p:cNvPr id="7" name="Titel 1"/>
          <p:cNvSpPr>
            <a:spLocks noGrp="1"/>
          </p:cNvSpPr>
          <p:nvPr>
            <p:ph type="title"/>
          </p:nvPr>
        </p:nvSpPr>
        <p:spPr>
          <a:xfrm>
            <a:off x="978102" y="630238"/>
            <a:ext cx="7937298" cy="332399"/>
          </a:xfrm>
        </p:spPr>
        <p:txBody>
          <a:bodyPr/>
          <a:lstStyle/>
          <a:p>
            <a:r>
              <a:rPr lang="en-GB" sz="2400" noProof="0" dirty="0"/>
              <a:t>What is Apache Kafka?</a:t>
            </a:r>
            <a:endParaRPr lang="en-GB" noProof="0" dirty="0"/>
          </a:p>
        </p:txBody>
      </p:sp>
      <p:sp>
        <p:nvSpPr>
          <p:cNvPr id="8" name="Rectangle 7"/>
          <p:cNvSpPr/>
          <p:nvPr/>
        </p:nvSpPr>
        <p:spPr>
          <a:xfrm>
            <a:off x="905680" y="1040315"/>
            <a:ext cx="6049894" cy="98488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Apache Kafka is </a:t>
            </a:r>
            <a:r>
              <a:rPr kumimoji="0" lang="en-GB" sz="1400" b="1" i="1" u="none" strike="noStrike" kern="1200" cap="none" spc="0" normalizeH="0" baseline="0" noProof="0" dirty="0">
                <a:ln>
                  <a:noFill/>
                </a:ln>
                <a:solidFill>
                  <a:srgbClr val="000000"/>
                </a:solidFill>
                <a:effectLst/>
                <a:uLnTx/>
                <a:uFillTx/>
                <a:latin typeface="Arial"/>
                <a:ea typeface="+mn-ea"/>
                <a:cs typeface="+mn-cs"/>
              </a:rPr>
              <a:t>a </a:t>
            </a:r>
            <a:r>
              <a:rPr kumimoji="0" lang="en-GB" sz="1400" b="1" i="1" u="none" strike="noStrike" kern="1200" cap="none" spc="0" normalizeH="0" baseline="0" noProof="0" dirty="0">
                <a:ln>
                  <a:noFill/>
                </a:ln>
                <a:solidFill>
                  <a:srgbClr val="213E7F"/>
                </a:solidFill>
                <a:effectLst/>
                <a:uLnTx/>
                <a:uFillTx/>
                <a:latin typeface="Arial"/>
                <a:ea typeface="+mn-ea"/>
                <a:cs typeface="+mn-cs"/>
              </a:rPr>
              <a:t>distributed streaming platfor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Apache Kafka is a realtime, fault tolerant, and highly scalable </a:t>
            </a:r>
            <a:r>
              <a:rPr kumimoji="0" lang="en-GB" sz="1100" b="1" i="0" u="none" strike="noStrike" kern="1200" cap="none" spc="0" normalizeH="0" baseline="0" noProof="0" dirty="0">
                <a:ln>
                  <a:noFill/>
                </a:ln>
                <a:solidFill>
                  <a:srgbClr val="0097D9"/>
                </a:solidFill>
                <a:effectLst/>
                <a:uLnTx/>
                <a:uFillTx/>
                <a:latin typeface="Arial"/>
                <a:ea typeface="+mn-ea"/>
                <a:cs typeface="+mn-cs"/>
              </a:rPr>
              <a:t>pub/sub</a:t>
            </a:r>
            <a:r>
              <a:rPr kumimoji="0" lang="en-GB" sz="1100" b="0" i="0" u="none" strike="noStrike" kern="1200" cap="none" spc="0" normalizeH="0" baseline="0" noProof="0" dirty="0">
                <a:ln>
                  <a:noFill/>
                </a:ln>
                <a:solidFill>
                  <a:srgbClr val="000000"/>
                </a:solidFill>
                <a:effectLst/>
                <a:uLnTx/>
                <a:uFillTx/>
                <a:latin typeface="Arial"/>
                <a:ea typeface="+mn-ea"/>
                <a:cs typeface="+mn-cs"/>
              </a:rPr>
              <a:t> message </a:t>
            </a:r>
            <a:r>
              <a:rPr kumimoji="0" lang="en-GB" sz="1100" b="0" i="0" u="none" strike="noStrike" kern="1200" cap="none" spc="0" normalizeH="0" baseline="0" noProof="0" dirty="0">
                <a:ln>
                  <a:noFill/>
                </a:ln>
                <a:solidFill>
                  <a:srgbClr val="0097D9"/>
                </a:solidFill>
                <a:effectLst/>
                <a:uLnTx/>
                <a:uFillTx/>
                <a:latin typeface="Arial"/>
                <a:ea typeface="+mn-ea"/>
                <a:cs typeface="+mn-cs"/>
              </a:rPr>
              <a:t>queue</a:t>
            </a:r>
            <a:r>
              <a:rPr kumimoji="0" lang="en-GB" sz="1100" b="0" i="0" u="none" strike="noStrike" kern="1200" cap="none" spc="0" normalizeH="0" baseline="0" noProof="0" dirty="0">
                <a:ln>
                  <a:noFill/>
                </a:ln>
                <a:solidFill>
                  <a:srgbClr val="000000"/>
                </a:solidFill>
                <a:effectLst/>
                <a:uLnTx/>
                <a:uFillTx/>
                <a:latin typeface="Arial"/>
                <a:ea typeface="+mn-ea"/>
                <a:cs typeface="+mn-cs"/>
              </a:rPr>
              <a:t> designed as a </a:t>
            </a:r>
            <a:r>
              <a:rPr kumimoji="0" lang="en-GB" sz="1100" b="0" i="0" u="none" strike="noStrike" kern="1200" cap="none" spc="0" normalizeH="0" baseline="0" noProof="0" dirty="0">
                <a:ln>
                  <a:noFill/>
                </a:ln>
                <a:solidFill>
                  <a:srgbClr val="0097D9"/>
                </a:solidFill>
                <a:effectLst/>
                <a:uLnTx/>
                <a:uFillTx/>
                <a:latin typeface="Arial"/>
                <a:ea typeface="+mn-ea"/>
                <a:cs typeface="+mn-cs"/>
              </a:rPr>
              <a:t>distributed transaction log</a:t>
            </a:r>
            <a:r>
              <a:rPr kumimoji="0" lang="en-GB" sz="1100" b="0" i="0" u="none" strike="noStrike" kern="1200" cap="none" spc="0" normalizeH="0" baseline="0" noProof="0" dirty="0">
                <a:ln>
                  <a:noFill/>
                </a:ln>
                <a:solidFill>
                  <a:srgbClr val="000000"/>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p:txBody>
      </p:sp>
      <p:pic>
        <p:nvPicPr>
          <p:cNvPr id="9" name="Picture 2" descr="Imagen relacionad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32653" y="638762"/>
            <a:ext cx="1860397" cy="1564543"/>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p:nvPr/>
        </p:nvGrpSpPr>
        <p:grpSpPr>
          <a:xfrm>
            <a:off x="3012854" y="2203305"/>
            <a:ext cx="2265087" cy="2273597"/>
            <a:chOff x="2828925" y="1837135"/>
            <a:chExt cx="1975077" cy="1982497"/>
          </a:xfrm>
        </p:grpSpPr>
        <p:grpSp>
          <p:nvGrpSpPr>
            <p:cNvPr id="11" name="Group 10"/>
            <p:cNvGrpSpPr/>
            <p:nvPr/>
          </p:nvGrpSpPr>
          <p:grpSpPr>
            <a:xfrm>
              <a:off x="2828925" y="1837135"/>
              <a:ext cx="1975077" cy="1982497"/>
              <a:chOff x="2828925" y="1837135"/>
              <a:chExt cx="3486150" cy="3499247"/>
            </a:xfrm>
          </p:grpSpPr>
          <p:sp>
            <p:nvSpPr>
              <p:cNvPr id="13" name="Oval 12">
                <a:extLst>
                  <a:ext uri="{FF2B5EF4-FFF2-40B4-BE49-F238E27FC236}">
                    <a16:creationId xmlns:a16="http://schemas.microsoft.com/office/drawing/2014/main" id="{9918F683-6D4B-43BD-A6D8-187ACD889424}"/>
                  </a:ext>
                </a:extLst>
              </p:cNvPr>
              <p:cNvSpPr/>
              <p:nvPr/>
            </p:nvSpPr>
            <p:spPr>
              <a:xfrm>
                <a:off x="3231193" y="2245941"/>
                <a:ext cx="2681613" cy="2681613"/>
              </a:xfrm>
              <a:prstGeom prst="ellipse">
                <a:avLst/>
              </a:prstGeom>
              <a:solidFill>
                <a:schemeClr val="bg1">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sp>
            <p:nvSpPr>
              <p:cNvPr id="14" name="Freeform 5">
                <a:extLst>
                  <a:ext uri="{FF2B5EF4-FFF2-40B4-BE49-F238E27FC236}">
                    <a16:creationId xmlns:a16="http://schemas.microsoft.com/office/drawing/2014/main" id="{F843DA68-BAD9-4067-B305-1272B00DDC89}"/>
                  </a:ext>
                </a:extLst>
              </p:cNvPr>
              <p:cNvSpPr>
                <a:spLocks/>
              </p:cNvSpPr>
              <p:nvPr/>
            </p:nvSpPr>
            <p:spPr bwMode="auto">
              <a:xfrm>
                <a:off x="4572000" y="1837135"/>
                <a:ext cx="1739504" cy="1749029"/>
              </a:xfrm>
              <a:custGeom>
                <a:avLst/>
                <a:gdLst>
                  <a:gd name="T0" fmla="*/ 689 w 3894"/>
                  <a:gd name="T1" fmla="*/ 0 h 3903"/>
                  <a:gd name="T2" fmla="*/ 3894 w 3894"/>
                  <a:gd name="T3" fmla="*/ 3162 h 3903"/>
                  <a:gd name="T4" fmla="*/ 0 w 3894"/>
                  <a:gd name="T5" fmla="*/ 3903 h 3903"/>
                  <a:gd name="T6" fmla="*/ 689 w 3894"/>
                  <a:gd name="T7" fmla="*/ 0 h 3903"/>
                </a:gdLst>
                <a:ahLst/>
                <a:cxnLst>
                  <a:cxn ang="0">
                    <a:pos x="T0" y="T1"/>
                  </a:cxn>
                  <a:cxn ang="0">
                    <a:pos x="T2" y="T3"/>
                  </a:cxn>
                  <a:cxn ang="0">
                    <a:pos x="T4" y="T5"/>
                  </a:cxn>
                  <a:cxn ang="0">
                    <a:pos x="T6" y="T7"/>
                  </a:cxn>
                </a:cxnLst>
                <a:rect l="0" t="0" r="r" b="b"/>
                <a:pathLst>
                  <a:path w="3894" h="3903">
                    <a:moveTo>
                      <a:pt x="689" y="0"/>
                    </a:moveTo>
                    <a:cubicBezTo>
                      <a:pt x="2310" y="286"/>
                      <a:pt x="3586" y="1545"/>
                      <a:pt x="3894" y="3162"/>
                    </a:cubicBezTo>
                    <a:lnTo>
                      <a:pt x="0" y="3903"/>
                    </a:lnTo>
                    <a:lnTo>
                      <a:pt x="689" y="0"/>
                    </a:lnTo>
                    <a:close/>
                  </a:path>
                </a:pathLst>
              </a:custGeom>
              <a:solidFill>
                <a:schemeClr val="accent1"/>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15" name="Freeform 7">
                <a:extLst>
                  <a:ext uri="{FF2B5EF4-FFF2-40B4-BE49-F238E27FC236}">
                    <a16:creationId xmlns:a16="http://schemas.microsoft.com/office/drawing/2014/main" id="{CCFE3509-6DF0-4AF1-BEF0-1DA597F07FBA}"/>
                  </a:ext>
                </a:extLst>
              </p:cNvPr>
              <p:cNvSpPr>
                <a:spLocks/>
              </p:cNvSpPr>
              <p:nvPr/>
            </p:nvSpPr>
            <p:spPr bwMode="auto">
              <a:xfrm>
                <a:off x="4572000" y="3586163"/>
                <a:ext cx="1743075" cy="1745456"/>
              </a:xfrm>
              <a:custGeom>
                <a:avLst/>
                <a:gdLst>
                  <a:gd name="T0" fmla="*/ 3903 w 3903"/>
                  <a:gd name="T1" fmla="*/ 688 h 3893"/>
                  <a:gd name="T2" fmla="*/ 741 w 3903"/>
                  <a:gd name="T3" fmla="*/ 3893 h 3893"/>
                  <a:gd name="T4" fmla="*/ 0 w 3903"/>
                  <a:gd name="T5" fmla="*/ 0 h 3893"/>
                  <a:gd name="T6" fmla="*/ 3903 w 3903"/>
                  <a:gd name="T7" fmla="*/ 688 h 3893"/>
                </a:gdLst>
                <a:ahLst/>
                <a:cxnLst>
                  <a:cxn ang="0">
                    <a:pos x="T0" y="T1"/>
                  </a:cxn>
                  <a:cxn ang="0">
                    <a:pos x="T2" y="T3"/>
                  </a:cxn>
                  <a:cxn ang="0">
                    <a:pos x="T4" y="T5"/>
                  </a:cxn>
                  <a:cxn ang="0">
                    <a:pos x="T6" y="T7"/>
                  </a:cxn>
                </a:cxnLst>
                <a:rect l="0" t="0" r="r" b="b"/>
                <a:pathLst>
                  <a:path w="3903" h="3893">
                    <a:moveTo>
                      <a:pt x="3903" y="688"/>
                    </a:moveTo>
                    <a:cubicBezTo>
                      <a:pt x="3617" y="2310"/>
                      <a:pt x="2359" y="3585"/>
                      <a:pt x="741" y="3893"/>
                    </a:cubicBezTo>
                    <a:lnTo>
                      <a:pt x="0" y="0"/>
                    </a:lnTo>
                    <a:lnTo>
                      <a:pt x="3903" y="688"/>
                    </a:lnTo>
                    <a:close/>
                  </a:path>
                </a:pathLst>
              </a:custGeom>
              <a:solidFill>
                <a:schemeClr val="accent2"/>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16" name="Freeform 9">
                <a:extLst>
                  <a:ext uri="{FF2B5EF4-FFF2-40B4-BE49-F238E27FC236}">
                    <a16:creationId xmlns:a16="http://schemas.microsoft.com/office/drawing/2014/main" id="{D2D68D35-77D6-483A-8EE2-D10AA94D3616}"/>
                  </a:ext>
                </a:extLst>
              </p:cNvPr>
              <p:cNvSpPr>
                <a:spLocks/>
              </p:cNvSpPr>
              <p:nvPr/>
            </p:nvSpPr>
            <p:spPr bwMode="auto">
              <a:xfrm>
                <a:off x="2833687" y="3586163"/>
                <a:ext cx="1738313" cy="1750219"/>
              </a:xfrm>
              <a:custGeom>
                <a:avLst/>
                <a:gdLst>
                  <a:gd name="T0" fmla="*/ 3205 w 3893"/>
                  <a:gd name="T1" fmla="*/ 3903 h 3903"/>
                  <a:gd name="T2" fmla="*/ 0 w 3893"/>
                  <a:gd name="T3" fmla="*/ 740 h 3903"/>
                  <a:gd name="T4" fmla="*/ 3893 w 3893"/>
                  <a:gd name="T5" fmla="*/ 0 h 3903"/>
                  <a:gd name="T6" fmla="*/ 3205 w 3893"/>
                  <a:gd name="T7" fmla="*/ 3903 h 3903"/>
                </a:gdLst>
                <a:ahLst/>
                <a:cxnLst>
                  <a:cxn ang="0">
                    <a:pos x="T0" y="T1"/>
                  </a:cxn>
                  <a:cxn ang="0">
                    <a:pos x="T2" y="T3"/>
                  </a:cxn>
                  <a:cxn ang="0">
                    <a:pos x="T4" y="T5"/>
                  </a:cxn>
                  <a:cxn ang="0">
                    <a:pos x="T6" y="T7"/>
                  </a:cxn>
                </a:cxnLst>
                <a:rect l="0" t="0" r="r" b="b"/>
                <a:pathLst>
                  <a:path w="3893" h="3903">
                    <a:moveTo>
                      <a:pt x="3205" y="3903"/>
                    </a:moveTo>
                    <a:cubicBezTo>
                      <a:pt x="1584" y="3617"/>
                      <a:pt x="308" y="2358"/>
                      <a:pt x="0" y="740"/>
                    </a:cubicBezTo>
                    <a:lnTo>
                      <a:pt x="3893" y="0"/>
                    </a:lnTo>
                    <a:lnTo>
                      <a:pt x="3205" y="3903"/>
                    </a:lnTo>
                    <a:close/>
                  </a:path>
                </a:pathLst>
              </a:custGeom>
              <a:solidFill>
                <a:schemeClr val="accent3"/>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17" name="Freeform 11">
                <a:extLst>
                  <a:ext uri="{FF2B5EF4-FFF2-40B4-BE49-F238E27FC236}">
                    <a16:creationId xmlns:a16="http://schemas.microsoft.com/office/drawing/2014/main" id="{D14B7B4E-242C-4E37-8700-4AB7769BE7E2}"/>
                  </a:ext>
                </a:extLst>
              </p:cNvPr>
              <p:cNvSpPr>
                <a:spLocks/>
              </p:cNvSpPr>
              <p:nvPr/>
            </p:nvSpPr>
            <p:spPr bwMode="auto">
              <a:xfrm>
                <a:off x="2828925" y="1840707"/>
                <a:ext cx="1743075" cy="1745456"/>
              </a:xfrm>
              <a:custGeom>
                <a:avLst/>
                <a:gdLst>
                  <a:gd name="T0" fmla="*/ 0 w 3902"/>
                  <a:gd name="T1" fmla="*/ 3206 h 3894"/>
                  <a:gd name="T2" fmla="*/ 3162 w 3902"/>
                  <a:gd name="T3" fmla="*/ 0 h 3894"/>
                  <a:gd name="T4" fmla="*/ 3902 w 3902"/>
                  <a:gd name="T5" fmla="*/ 3894 h 3894"/>
                  <a:gd name="T6" fmla="*/ 0 w 3902"/>
                  <a:gd name="T7" fmla="*/ 3206 h 3894"/>
                </a:gdLst>
                <a:ahLst/>
                <a:cxnLst>
                  <a:cxn ang="0">
                    <a:pos x="T0" y="T1"/>
                  </a:cxn>
                  <a:cxn ang="0">
                    <a:pos x="T2" y="T3"/>
                  </a:cxn>
                  <a:cxn ang="0">
                    <a:pos x="T4" y="T5"/>
                  </a:cxn>
                  <a:cxn ang="0">
                    <a:pos x="T6" y="T7"/>
                  </a:cxn>
                </a:cxnLst>
                <a:rect l="0" t="0" r="r" b="b"/>
                <a:pathLst>
                  <a:path w="3902" h="3894">
                    <a:moveTo>
                      <a:pt x="0" y="3206"/>
                    </a:moveTo>
                    <a:cubicBezTo>
                      <a:pt x="285" y="1584"/>
                      <a:pt x="1544" y="308"/>
                      <a:pt x="3162" y="0"/>
                    </a:cubicBezTo>
                    <a:lnTo>
                      <a:pt x="3902" y="3894"/>
                    </a:lnTo>
                    <a:lnTo>
                      <a:pt x="0" y="3206"/>
                    </a:lnTo>
                    <a:close/>
                  </a:path>
                </a:pathLst>
              </a:custGeom>
              <a:solidFill>
                <a:schemeClr val="accent5"/>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18" name="Freeform: Shape 7">
                <a:extLst>
                  <a:ext uri="{FF2B5EF4-FFF2-40B4-BE49-F238E27FC236}">
                    <a16:creationId xmlns:a16="http://schemas.microsoft.com/office/drawing/2014/main" id="{533FAB71-107B-46DE-9EC8-3849CA1E0814}"/>
                  </a:ext>
                </a:extLst>
              </p:cNvPr>
              <p:cNvSpPr>
                <a:spLocks/>
              </p:cNvSpPr>
              <p:nvPr/>
            </p:nvSpPr>
            <p:spPr bwMode="auto">
              <a:xfrm>
                <a:off x="4804077" y="1837136"/>
                <a:ext cx="1507427" cy="1497743"/>
              </a:xfrm>
              <a:custGeom>
                <a:avLst/>
                <a:gdLst>
                  <a:gd name="connsiteX0" fmla="*/ 100945 w 2009902"/>
                  <a:gd name="connsiteY0" fmla="*/ 0 h 1996991"/>
                  <a:gd name="connsiteX1" fmla="*/ 2009902 w 2009902"/>
                  <a:gd name="connsiteY1" fmla="*/ 1889292 h 1996991"/>
                  <a:gd name="connsiteX2" fmla="*/ 1445719 w 2009902"/>
                  <a:gd name="connsiteY2" fmla="*/ 1996991 h 1996991"/>
                  <a:gd name="connsiteX3" fmla="*/ 1441985 w 2009902"/>
                  <a:gd name="connsiteY3" fmla="*/ 1972525 h 1996991"/>
                  <a:gd name="connsiteX4" fmla="*/ 50856 w 2009902"/>
                  <a:gd name="connsiteY4" fmla="*/ 581396 h 1996991"/>
                  <a:gd name="connsiteX5" fmla="*/ 0 w 2009902"/>
                  <a:gd name="connsiteY5" fmla="*/ 573634 h 1996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9902" h="1996991">
                    <a:moveTo>
                      <a:pt x="100945" y="0"/>
                    </a:moveTo>
                    <a:cubicBezTo>
                      <a:pt x="1066443" y="170885"/>
                      <a:pt x="1826452" y="923136"/>
                      <a:pt x="2009902" y="1889292"/>
                    </a:cubicBezTo>
                    <a:lnTo>
                      <a:pt x="1445719" y="1996991"/>
                    </a:lnTo>
                    <a:lnTo>
                      <a:pt x="1441985" y="1972525"/>
                    </a:lnTo>
                    <a:cubicBezTo>
                      <a:pt x="1299099" y="1274258"/>
                      <a:pt x="749122" y="724282"/>
                      <a:pt x="50856" y="581396"/>
                    </a:cubicBezTo>
                    <a:lnTo>
                      <a:pt x="0" y="573634"/>
                    </a:lnTo>
                    <a:close/>
                  </a:path>
                </a:pathLst>
              </a:custGeom>
              <a:solidFill>
                <a:schemeClr val="tx1">
                  <a:alpha val="28000"/>
                </a:schemeClr>
              </a:solidFill>
              <a:ln w="0">
                <a:noFill/>
                <a:prstDash val="solid"/>
                <a:round/>
                <a:headEnd/>
                <a:tailEnd/>
              </a:ln>
            </p:spPr>
            <p:txBody>
              <a:bodyPr vert="horz" wrap="square" lIns="68580" tIns="34290" rIns="68580" bIns="3429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Shape 8">
                <a:extLst>
                  <a:ext uri="{FF2B5EF4-FFF2-40B4-BE49-F238E27FC236}">
                    <a16:creationId xmlns:a16="http://schemas.microsoft.com/office/drawing/2014/main" id="{6BDD2191-3AC1-47FE-A520-E7C2690060F5}"/>
                  </a:ext>
                </a:extLst>
              </p:cNvPr>
              <p:cNvSpPr>
                <a:spLocks/>
              </p:cNvSpPr>
              <p:nvPr/>
            </p:nvSpPr>
            <p:spPr bwMode="auto">
              <a:xfrm>
                <a:off x="4821748" y="3819632"/>
                <a:ext cx="1493327" cy="1511987"/>
              </a:xfrm>
              <a:custGeom>
                <a:avLst/>
                <a:gdLst>
                  <a:gd name="connsiteX0" fmla="*/ 1426020 w 1991102"/>
                  <a:gd name="connsiteY0" fmla="*/ 0 h 2015983"/>
                  <a:gd name="connsiteX1" fmla="*/ 1991102 w 1991102"/>
                  <a:gd name="connsiteY1" fmla="*/ 100002 h 2015983"/>
                  <a:gd name="connsiteX2" fmla="*/ 108242 w 1991102"/>
                  <a:gd name="connsiteY2" fmla="*/ 2015983 h 2015983"/>
                  <a:gd name="connsiteX3" fmla="*/ 0 w 1991102"/>
                  <a:gd name="connsiteY3" fmla="*/ 1445075 h 2015983"/>
                  <a:gd name="connsiteX4" fmla="*/ 27294 w 1991102"/>
                  <a:gd name="connsiteY4" fmla="*/ 1440910 h 2015983"/>
                  <a:gd name="connsiteX5" fmla="*/ 1418423 w 1991102"/>
                  <a:gd name="connsiteY5" fmla="*/ 49781 h 201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102" h="2015983">
                    <a:moveTo>
                      <a:pt x="1426020" y="0"/>
                    </a:moveTo>
                    <a:lnTo>
                      <a:pt x="1991102" y="100002"/>
                    </a:lnTo>
                    <a:cubicBezTo>
                      <a:pt x="1820799" y="1069650"/>
                      <a:pt x="1071704" y="1831858"/>
                      <a:pt x="108242" y="2015983"/>
                    </a:cubicBezTo>
                    <a:lnTo>
                      <a:pt x="0" y="1445075"/>
                    </a:lnTo>
                    <a:lnTo>
                      <a:pt x="27294" y="1440910"/>
                    </a:lnTo>
                    <a:cubicBezTo>
                      <a:pt x="725560" y="1298024"/>
                      <a:pt x="1275537" y="748047"/>
                      <a:pt x="1418423" y="49781"/>
                    </a:cubicBezTo>
                    <a:close/>
                  </a:path>
                </a:pathLst>
              </a:custGeom>
              <a:solidFill>
                <a:schemeClr val="tx1">
                  <a:alpha val="28000"/>
                </a:schemeClr>
              </a:solidFill>
              <a:ln w="0">
                <a:noFill/>
                <a:prstDash val="solid"/>
                <a:round/>
                <a:headEnd/>
                <a:tailEnd/>
              </a:ln>
            </p:spPr>
            <p:txBody>
              <a:bodyPr vert="horz" wrap="square" lIns="68580" tIns="34290" rIns="68580" bIns="3429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20" name="Freeform: Shape 9">
                <a:extLst>
                  <a:ext uri="{FF2B5EF4-FFF2-40B4-BE49-F238E27FC236}">
                    <a16:creationId xmlns:a16="http://schemas.microsoft.com/office/drawing/2014/main" id="{1CDEC640-46E1-4761-8EF2-B83561CE5109}"/>
                  </a:ext>
                </a:extLst>
              </p:cNvPr>
              <p:cNvSpPr>
                <a:spLocks/>
              </p:cNvSpPr>
              <p:nvPr/>
            </p:nvSpPr>
            <p:spPr bwMode="auto">
              <a:xfrm>
                <a:off x="2833689" y="3837485"/>
                <a:ext cx="1506614" cy="1498896"/>
              </a:xfrm>
              <a:custGeom>
                <a:avLst/>
                <a:gdLst>
                  <a:gd name="connsiteX0" fmla="*/ 562363 w 2008819"/>
                  <a:gd name="connsiteY0" fmla="*/ 0 h 1998528"/>
                  <a:gd name="connsiteX1" fmla="*/ 566328 w 2008819"/>
                  <a:gd name="connsiteY1" fmla="*/ 25976 h 1998528"/>
                  <a:gd name="connsiteX2" fmla="*/ 1957457 w 2008819"/>
                  <a:gd name="connsiteY2" fmla="*/ 1417105 h 1998528"/>
                  <a:gd name="connsiteX3" fmla="*/ 2008819 w 2008819"/>
                  <a:gd name="connsiteY3" fmla="*/ 1424944 h 1998528"/>
                  <a:gd name="connsiteX4" fmla="*/ 1908140 w 2008819"/>
                  <a:gd name="connsiteY4" fmla="*/ 1998528 h 1998528"/>
                  <a:gd name="connsiteX5" fmla="*/ 0 w 2008819"/>
                  <a:gd name="connsiteY5" fmla="*/ 107353 h 1998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8819" h="1998528">
                    <a:moveTo>
                      <a:pt x="562363" y="0"/>
                    </a:moveTo>
                    <a:lnTo>
                      <a:pt x="566328" y="25976"/>
                    </a:lnTo>
                    <a:cubicBezTo>
                      <a:pt x="709214" y="724242"/>
                      <a:pt x="1259190" y="1274219"/>
                      <a:pt x="1957457" y="1417105"/>
                    </a:cubicBezTo>
                    <a:lnTo>
                      <a:pt x="2008819" y="1424944"/>
                    </a:lnTo>
                    <a:lnTo>
                      <a:pt x="1908140" y="1998528"/>
                    </a:lnTo>
                    <a:cubicBezTo>
                      <a:pt x="943056" y="1827527"/>
                      <a:pt x="183372" y="1074764"/>
                      <a:pt x="0" y="107353"/>
                    </a:cubicBezTo>
                    <a:close/>
                  </a:path>
                </a:pathLst>
              </a:custGeom>
              <a:solidFill>
                <a:schemeClr val="tx1">
                  <a:alpha val="28000"/>
                </a:schemeClr>
              </a:solidFill>
              <a:ln w="0">
                <a:noFill/>
                <a:prstDash val="solid"/>
                <a:round/>
                <a:headEnd/>
                <a:tailEnd/>
              </a:ln>
            </p:spPr>
            <p:txBody>
              <a:bodyPr vert="horz" wrap="square" lIns="68580" tIns="34290" rIns="68580" bIns="3429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Freeform: Shape 10">
                <a:extLst>
                  <a:ext uri="{FF2B5EF4-FFF2-40B4-BE49-F238E27FC236}">
                    <a16:creationId xmlns:a16="http://schemas.microsoft.com/office/drawing/2014/main" id="{2BCAF024-3532-42C6-977C-D3EEE6691486}"/>
                  </a:ext>
                </a:extLst>
              </p:cNvPr>
              <p:cNvSpPr>
                <a:spLocks/>
              </p:cNvSpPr>
              <p:nvPr/>
            </p:nvSpPr>
            <p:spPr bwMode="auto">
              <a:xfrm>
                <a:off x="2828926" y="1840706"/>
                <a:ext cx="1493807" cy="1512077"/>
              </a:xfrm>
              <a:custGeom>
                <a:avLst/>
                <a:gdLst>
                  <a:gd name="connsiteX0" fmla="*/ 1883343 w 1991743"/>
                  <a:gd name="connsiteY0" fmla="*/ 0 h 2016102"/>
                  <a:gd name="connsiteX1" fmla="*/ 1991743 w 1991743"/>
                  <a:gd name="connsiteY1" fmla="*/ 572370 h 2016102"/>
                  <a:gd name="connsiteX2" fmla="*/ 1963807 w 1991743"/>
                  <a:gd name="connsiteY2" fmla="*/ 576634 h 2016102"/>
                  <a:gd name="connsiteX3" fmla="*/ 572678 w 1991743"/>
                  <a:gd name="connsiteY3" fmla="*/ 1967763 h 2016102"/>
                  <a:gd name="connsiteX4" fmla="*/ 565300 w 1991743"/>
                  <a:gd name="connsiteY4" fmla="*/ 2016102 h 2016102"/>
                  <a:gd name="connsiteX5" fmla="*/ 0 w 1991743"/>
                  <a:gd name="connsiteY5" fmla="*/ 1916087 h 2016102"/>
                  <a:gd name="connsiteX6" fmla="*/ 1883343 w 1991743"/>
                  <a:gd name="connsiteY6" fmla="*/ 0 h 2016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91743" h="2016102">
                    <a:moveTo>
                      <a:pt x="1883343" y="0"/>
                    </a:moveTo>
                    <a:lnTo>
                      <a:pt x="1991743" y="572370"/>
                    </a:lnTo>
                    <a:lnTo>
                      <a:pt x="1963807" y="576634"/>
                    </a:lnTo>
                    <a:cubicBezTo>
                      <a:pt x="1265541" y="719520"/>
                      <a:pt x="715564" y="1269496"/>
                      <a:pt x="572678" y="1967763"/>
                    </a:cubicBezTo>
                    <a:lnTo>
                      <a:pt x="565300" y="2016102"/>
                    </a:lnTo>
                    <a:lnTo>
                      <a:pt x="0" y="1916087"/>
                    </a:lnTo>
                    <a:cubicBezTo>
                      <a:pt x="169751" y="946688"/>
                      <a:pt x="919634" y="184078"/>
                      <a:pt x="1883343" y="0"/>
                    </a:cubicBezTo>
                    <a:close/>
                  </a:path>
                </a:pathLst>
              </a:custGeom>
              <a:solidFill>
                <a:schemeClr val="tx1">
                  <a:alpha val="28000"/>
                </a:schemeClr>
              </a:solidFill>
              <a:ln w="0">
                <a:noFill/>
                <a:prstDash val="solid"/>
                <a:round/>
                <a:headEnd/>
                <a:tailEnd/>
              </a:ln>
            </p:spPr>
            <p:txBody>
              <a:bodyPr vert="horz" wrap="square" lIns="68580" tIns="34290" rIns="68580" bIns="3429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grpSp>
        <p:sp>
          <p:nvSpPr>
            <p:cNvPr id="12" name="Oval 11">
              <a:extLst>
                <a:ext uri="{FF2B5EF4-FFF2-40B4-BE49-F238E27FC236}">
                  <a16:creationId xmlns:a16="http://schemas.microsoft.com/office/drawing/2014/main" id="{30C544BB-AE83-4281-8AFA-93BC2B73505A}"/>
                </a:ext>
              </a:extLst>
            </p:cNvPr>
            <p:cNvSpPr/>
            <p:nvPr/>
          </p:nvSpPr>
          <p:spPr>
            <a:xfrm>
              <a:off x="3502008" y="2497855"/>
              <a:ext cx="624863" cy="624863"/>
            </a:xfrm>
            <a:prstGeom prst="ellipse">
              <a:avLst/>
            </a:prstGeom>
            <a:solidFill>
              <a:schemeClr val="bg1">
                <a:alpha val="72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22" name="Group 21">
            <a:extLst>
              <a:ext uri="{FF2B5EF4-FFF2-40B4-BE49-F238E27FC236}">
                <a16:creationId xmlns:a16="http://schemas.microsoft.com/office/drawing/2014/main" id="{54D79A80-B452-43E5-BAF8-FEFD74A37333}"/>
              </a:ext>
            </a:extLst>
          </p:cNvPr>
          <p:cNvGrpSpPr/>
          <p:nvPr/>
        </p:nvGrpSpPr>
        <p:grpSpPr>
          <a:xfrm>
            <a:off x="892771" y="2196350"/>
            <a:ext cx="2201648" cy="853308"/>
            <a:chOff x="750495" y="1193076"/>
            <a:chExt cx="2935531" cy="1137742"/>
          </a:xfrm>
        </p:grpSpPr>
        <p:sp>
          <p:nvSpPr>
            <p:cNvPr id="23" name="TextBox 22">
              <a:extLst>
                <a:ext uri="{FF2B5EF4-FFF2-40B4-BE49-F238E27FC236}">
                  <a16:creationId xmlns:a16="http://schemas.microsoft.com/office/drawing/2014/main" id="{A2AB8FE2-751B-4D0B-9EF7-1A4137C7EB30}"/>
                </a:ext>
              </a:extLst>
            </p:cNvPr>
            <p:cNvSpPr txBox="1"/>
            <p:nvPr/>
          </p:nvSpPr>
          <p:spPr>
            <a:xfrm>
              <a:off x="750495" y="1193076"/>
              <a:ext cx="2926080" cy="348813"/>
            </a:xfrm>
            <a:prstGeom prst="rect">
              <a:avLst/>
            </a:prstGeom>
            <a:noFill/>
          </p:spPr>
          <p:txBody>
            <a:bodyPr wrap="square" lIns="0" r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all" spc="0" normalizeH="0" baseline="0" noProof="0" dirty="0">
                  <a:ln>
                    <a:noFill/>
                  </a:ln>
                  <a:solidFill>
                    <a:srgbClr val="000000">
                      <a:lumMod val="65000"/>
                      <a:lumOff val="35000"/>
                    </a:srgbClr>
                  </a:solidFill>
                  <a:effectLst/>
                  <a:uLnTx/>
                  <a:uFillTx/>
                  <a:latin typeface="Arial"/>
                  <a:ea typeface="+mn-ea"/>
                  <a:cs typeface="+mn-cs"/>
                </a:rPr>
                <a:t>PRODUCERS</a:t>
              </a:r>
            </a:p>
          </p:txBody>
        </p:sp>
        <p:sp>
          <p:nvSpPr>
            <p:cNvPr id="24" name="TextBox 23">
              <a:extLst>
                <a:ext uri="{FF2B5EF4-FFF2-40B4-BE49-F238E27FC236}">
                  <a16:creationId xmlns:a16="http://schemas.microsoft.com/office/drawing/2014/main" id="{706F78EF-AAF3-4B58-804C-6968D1D5E1AB}"/>
                </a:ext>
              </a:extLst>
            </p:cNvPr>
            <p:cNvSpPr txBox="1"/>
            <p:nvPr/>
          </p:nvSpPr>
          <p:spPr>
            <a:xfrm>
              <a:off x="1340327" y="1592155"/>
              <a:ext cx="2345699" cy="738663"/>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Allows an application to publish a stream of records to one or more Kafka topics.</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25" name="Group 24">
            <a:extLst>
              <a:ext uri="{FF2B5EF4-FFF2-40B4-BE49-F238E27FC236}">
                <a16:creationId xmlns:a16="http://schemas.microsoft.com/office/drawing/2014/main" id="{54D79A80-B452-43E5-BAF8-FEFD74A37333}"/>
              </a:ext>
            </a:extLst>
          </p:cNvPr>
          <p:cNvGrpSpPr/>
          <p:nvPr/>
        </p:nvGrpSpPr>
        <p:grpSpPr>
          <a:xfrm>
            <a:off x="663942" y="3728345"/>
            <a:ext cx="2625354" cy="923217"/>
            <a:chOff x="326367" y="881270"/>
            <a:chExt cx="3500472" cy="1230954"/>
          </a:xfrm>
        </p:grpSpPr>
        <p:sp>
          <p:nvSpPr>
            <p:cNvPr id="26" name="TextBox 25">
              <a:extLst>
                <a:ext uri="{FF2B5EF4-FFF2-40B4-BE49-F238E27FC236}">
                  <a16:creationId xmlns:a16="http://schemas.microsoft.com/office/drawing/2014/main" id="{A2AB8FE2-751B-4D0B-9EF7-1A4137C7EB30}"/>
                </a:ext>
              </a:extLst>
            </p:cNvPr>
            <p:cNvSpPr txBox="1"/>
            <p:nvPr/>
          </p:nvSpPr>
          <p:spPr>
            <a:xfrm>
              <a:off x="326367" y="881270"/>
              <a:ext cx="2926079" cy="348813"/>
            </a:xfrm>
            <a:prstGeom prst="rect">
              <a:avLst/>
            </a:prstGeom>
            <a:noFill/>
          </p:spPr>
          <p:txBody>
            <a:bodyPr wrap="square" lIns="0" r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all" spc="0" normalizeH="0" baseline="0" noProof="0" dirty="0">
                  <a:ln>
                    <a:noFill/>
                  </a:ln>
                  <a:solidFill>
                    <a:srgbClr val="5082BE"/>
                  </a:solidFill>
                  <a:effectLst/>
                  <a:uLnTx/>
                  <a:uFillTx/>
                  <a:latin typeface="Arial"/>
                  <a:ea typeface="+mn-ea"/>
                  <a:cs typeface="+mn-cs"/>
                </a:rPr>
                <a:t>CONSUMERS</a:t>
              </a:r>
            </a:p>
          </p:txBody>
        </p:sp>
        <p:sp>
          <p:nvSpPr>
            <p:cNvPr id="27" name="TextBox 26">
              <a:extLst>
                <a:ext uri="{FF2B5EF4-FFF2-40B4-BE49-F238E27FC236}">
                  <a16:creationId xmlns:a16="http://schemas.microsoft.com/office/drawing/2014/main" id="{706F78EF-AAF3-4B58-804C-6968D1D5E1AB}"/>
                </a:ext>
              </a:extLst>
            </p:cNvPr>
            <p:cNvSpPr txBox="1"/>
            <p:nvPr/>
          </p:nvSpPr>
          <p:spPr>
            <a:xfrm>
              <a:off x="1005326" y="1373561"/>
              <a:ext cx="2821513" cy="738663"/>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Allows an application to subscribe to one or more topics and process the stream of records produced to them</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28" name="Group 27">
            <a:extLst>
              <a:ext uri="{FF2B5EF4-FFF2-40B4-BE49-F238E27FC236}">
                <a16:creationId xmlns:a16="http://schemas.microsoft.com/office/drawing/2014/main" id="{54D79A80-B452-43E5-BAF8-FEFD74A37333}"/>
              </a:ext>
            </a:extLst>
          </p:cNvPr>
          <p:cNvGrpSpPr/>
          <p:nvPr/>
        </p:nvGrpSpPr>
        <p:grpSpPr>
          <a:xfrm>
            <a:off x="5513070" y="3418100"/>
            <a:ext cx="3195318" cy="1168683"/>
            <a:chOff x="696318" y="1056989"/>
            <a:chExt cx="3069624" cy="1558243"/>
          </a:xfrm>
        </p:grpSpPr>
        <p:sp>
          <p:nvSpPr>
            <p:cNvPr id="29" name="TextBox 28">
              <a:extLst>
                <a:ext uri="{FF2B5EF4-FFF2-40B4-BE49-F238E27FC236}">
                  <a16:creationId xmlns:a16="http://schemas.microsoft.com/office/drawing/2014/main" id="{A2AB8FE2-751B-4D0B-9EF7-1A4137C7EB30}"/>
                </a:ext>
              </a:extLst>
            </p:cNvPr>
            <p:cNvSpPr txBox="1"/>
            <p:nvPr/>
          </p:nvSpPr>
          <p:spPr>
            <a:xfrm>
              <a:off x="839862" y="1056989"/>
              <a:ext cx="2926080" cy="348813"/>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all" spc="0" normalizeH="0" baseline="0" noProof="0" dirty="0">
                  <a:ln>
                    <a:noFill/>
                  </a:ln>
                  <a:solidFill>
                    <a:srgbClr val="0097D9"/>
                  </a:solidFill>
                  <a:effectLst/>
                  <a:uLnTx/>
                  <a:uFillTx/>
                  <a:latin typeface="Arial"/>
                  <a:ea typeface="+mn-ea"/>
                  <a:cs typeface="+mn-cs"/>
                </a:rPr>
                <a:t>STREAMS</a:t>
              </a:r>
            </a:p>
          </p:txBody>
        </p:sp>
        <p:sp>
          <p:nvSpPr>
            <p:cNvPr id="30" name="TextBox 29">
              <a:extLst>
                <a:ext uri="{FF2B5EF4-FFF2-40B4-BE49-F238E27FC236}">
                  <a16:creationId xmlns:a16="http://schemas.microsoft.com/office/drawing/2014/main" id="{706F78EF-AAF3-4B58-804C-6968D1D5E1AB}"/>
                </a:ext>
              </a:extLst>
            </p:cNvPr>
            <p:cNvSpPr txBox="1"/>
            <p:nvPr/>
          </p:nvSpPr>
          <p:spPr>
            <a:xfrm>
              <a:off x="696318" y="1466201"/>
              <a:ext cx="2821513" cy="1149031"/>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Allows an application to act as a stream processor, consuming an input stream from one or more topics and producing an output stream to one or more output topics, effectively transforming the input streams to output streams</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31" name="Group 30">
            <a:extLst>
              <a:ext uri="{FF2B5EF4-FFF2-40B4-BE49-F238E27FC236}">
                <a16:creationId xmlns:a16="http://schemas.microsoft.com/office/drawing/2014/main" id="{54D79A80-B452-43E5-BAF8-FEFD74A37333}"/>
              </a:ext>
            </a:extLst>
          </p:cNvPr>
          <p:cNvGrpSpPr/>
          <p:nvPr/>
        </p:nvGrpSpPr>
        <p:grpSpPr>
          <a:xfrm>
            <a:off x="5203465" y="2173347"/>
            <a:ext cx="2288530" cy="1001475"/>
            <a:chOff x="477860" y="1157721"/>
            <a:chExt cx="3051373" cy="1335299"/>
          </a:xfrm>
        </p:grpSpPr>
        <p:sp>
          <p:nvSpPr>
            <p:cNvPr id="32" name="TextBox 31">
              <a:extLst>
                <a:ext uri="{FF2B5EF4-FFF2-40B4-BE49-F238E27FC236}">
                  <a16:creationId xmlns:a16="http://schemas.microsoft.com/office/drawing/2014/main" id="{A2AB8FE2-751B-4D0B-9EF7-1A4137C7EB30}"/>
                </a:ext>
              </a:extLst>
            </p:cNvPr>
            <p:cNvSpPr txBox="1"/>
            <p:nvPr/>
          </p:nvSpPr>
          <p:spPr>
            <a:xfrm>
              <a:off x="477860" y="1157721"/>
              <a:ext cx="2926080" cy="348813"/>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all" spc="0" normalizeH="0" baseline="0" noProof="0" dirty="0">
                  <a:ln>
                    <a:noFill/>
                  </a:ln>
                  <a:solidFill>
                    <a:srgbClr val="213E7F"/>
                  </a:solidFill>
                  <a:effectLst/>
                  <a:uLnTx/>
                  <a:uFillTx/>
                  <a:latin typeface="Arial"/>
                  <a:ea typeface="+mn-ea"/>
                  <a:cs typeface="+mn-cs"/>
                </a:rPr>
                <a:t>CONNECTORS</a:t>
              </a:r>
            </a:p>
          </p:txBody>
        </p:sp>
        <p:sp>
          <p:nvSpPr>
            <p:cNvPr id="33" name="TextBox 32">
              <a:extLst>
                <a:ext uri="{FF2B5EF4-FFF2-40B4-BE49-F238E27FC236}">
                  <a16:creationId xmlns:a16="http://schemas.microsoft.com/office/drawing/2014/main" id="{706F78EF-AAF3-4B58-804C-6968D1D5E1AB}"/>
                </a:ext>
              </a:extLst>
            </p:cNvPr>
            <p:cNvSpPr txBox="1"/>
            <p:nvPr/>
          </p:nvSpPr>
          <p:spPr>
            <a:xfrm>
              <a:off x="707720" y="1549173"/>
              <a:ext cx="2821513" cy="943847"/>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Allows building and running reusable producers or consumers that connect Kafka topics to existing applications or data systems</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34" name="Gruppieren 455"/>
          <p:cNvGrpSpPr/>
          <p:nvPr/>
        </p:nvGrpSpPr>
        <p:grpSpPr>
          <a:xfrm>
            <a:off x="3575611" y="2729586"/>
            <a:ext cx="292266" cy="292266"/>
            <a:chOff x="2438081" y="1575595"/>
            <a:chExt cx="619125" cy="619125"/>
          </a:xfrm>
        </p:grpSpPr>
        <p:sp>
          <p:nvSpPr>
            <p:cNvPr id="35" name="Freihandform: Form 287">
              <a:extLst>
                <a:ext uri="{FF2B5EF4-FFF2-40B4-BE49-F238E27FC236}">
                  <a16:creationId xmlns:a16="http://schemas.microsoft.com/office/drawing/2014/main" id="{A4A1C645-BBAE-4D42-8430-8229F9BE2FC0}"/>
                </a:ext>
              </a:extLst>
            </p:cNvPr>
            <p:cNvSpPr/>
            <p:nvPr/>
          </p:nvSpPr>
          <p:spPr>
            <a:xfrm>
              <a:off x="2438081" y="1575595"/>
              <a:ext cx="619125" cy="619125"/>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solidFill>
              <a:schemeClr val="lt1">
                <a:alpha val="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6" name="Freihandform: Form 359">
              <a:extLst>
                <a:ext uri="{FF2B5EF4-FFF2-40B4-BE49-F238E27FC236}">
                  <a16:creationId xmlns:a16="http://schemas.microsoft.com/office/drawing/2014/main" id="{9D53ECB4-30AB-4A6F-A26C-23C8ADBF55E6}"/>
                </a:ext>
              </a:extLst>
            </p:cNvPr>
            <p:cNvSpPr/>
            <p:nvPr/>
          </p:nvSpPr>
          <p:spPr>
            <a:xfrm>
              <a:off x="2476181" y="1623220"/>
              <a:ext cx="371475" cy="523875"/>
            </a:xfrm>
            <a:custGeom>
              <a:avLst/>
              <a:gdLst>
                <a:gd name="connsiteX0" fmla="*/ 7144 w 371475"/>
                <a:gd name="connsiteY0" fmla="*/ 483394 h 523875"/>
                <a:gd name="connsiteX1" fmla="*/ 45244 w 371475"/>
                <a:gd name="connsiteY1" fmla="*/ 521494 h 523875"/>
                <a:gd name="connsiteX2" fmla="*/ 330994 w 371475"/>
                <a:gd name="connsiteY2" fmla="*/ 521494 h 523875"/>
                <a:gd name="connsiteX3" fmla="*/ 369094 w 371475"/>
                <a:gd name="connsiteY3" fmla="*/ 483394 h 523875"/>
                <a:gd name="connsiteX4" fmla="*/ 369094 w 371475"/>
                <a:gd name="connsiteY4" fmla="*/ 121444 h 523875"/>
                <a:gd name="connsiteX5" fmla="*/ 366236 w 371475"/>
                <a:gd name="connsiteY5" fmla="*/ 114776 h 523875"/>
                <a:gd name="connsiteX6" fmla="*/ 261461 w 371475"/>
                <a:gd name="connsiteY6" fmla="*/ 10001 h 523875"/>
                <a:gd name="connsiteX7" fmla="*/ 254794 w 371475"/>
                <a:gd name="connsiteY7" fmla="*/ 7144 h 523875"/>
                <a:gd name="connsiteX8" fmla="*/ 45244 w 371475"/>
                <a:gd name="connsiteY8" fmla="*/ 7144 h 523875"/>
                <a:gd name="connsiteX9" fmla="*/ 7144 w 371475"/>
                <a:gd name="connsiteY9" fmla="*/ 45244 h 523875"/>
                <a:gd name="connsiteX10" fmla="*/ 7144 w 371475"/>
                <a:gd name="connsiteY10" fmla="*/ 483394 h 523875"/>
                <a:gd name="connsiteX11" fmla="*/ 346234 w 371475"/>
                <a:gd name="connsiteY11" fmla="*/ 121444 h 523875"/>
                <a:gd name="connsiteX12" fmla="*/ 273844 w 371475"/>
                <a:gd name="connsiteY12" fmla="*/ 121444 h 523875"/>
                <a:gd name="connsiteX13" fmla="*/ 254794 w 371475"/>
                <a:gd name="connsiteY13" fmla="*/ 102394 h 523875"/>
                <a:gd name="connsiteX14" fmla="*/ 254794 w 371475"/>
                <a:gd name="connsiteY14" fmla="*/ 30004 h 523875"/>
                <a:gd name="connsiteX15" fmla="*/ 346234 w 371475"/>
                <a:gd name="connsiteY15" fmla="*/ 121444 h 523875"/>
                <a:gd name="connsiteX16" fmla="*/ 26194 w 371475"/>
                <a:gd name="connsiteY16" fmla="*/ 45244 h 523875"/>
                <a:gd name="connsiteX17" fmla="*/ 45244 w 371475"/>
                <a:gd name="connsiteY17" fmla="*/ 26194 h 523875"/>
                <a:gd name="connsiteX18" fmla="*/ 235744 w 371475"/>
                <a:gd name="connsiteY18" fmla="*/ 26194 h 523875"/>
                <a:gd name="connsiteX19" fmla="*/ 235744 w 371475"/>
                <a:gd name="connsiteY19" fmla="*/ 102394 h 523875"/>
                <a:gd name="connsiteX20" fmla="*/ 273844 w 371475"/>
                <a:gd name="connsiteY20" fmla="*/ 140494 h 523875"/>
                <a:gd name="connsiteX21" fmla="*/ 350044 w 371475"/>
                <a:gd name="connsiteY21" fmla="*/ 140494 h 523875"/>
                <a:gd name="connsiteX22" fmla="*/ 350044 w 371475"/>
                <a:gd name="connsiteY22" fmla="*/ 483394 h 523875"/>
                <a:gd name="connsiteX23" fmla="*/ 330994 w 371475"/>
                <a:gd name="connsiteY23" fmla="*/ 502444 h 523875"/>
                <a:gd name="connsiteX24" fmla="*/ 45244 w 371475"/>
                <a:gd name="connsiteY24" fmla="*/ 502444 h 523875"/>
                <a:gd name="connsiteX25" fmla="*/ 26194 w 371475"/>
                <a:gd name="connsiteY25" fmla="*/ 483394 h 523875"/>
                <a:gd name="connsiteX26" fmla="*/ 26194 w 371475"/>
                <a:gd name="connsiteY26" fmla="*/ 45244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71475" h="523875">
                  <a:moveTo>
                    <a:pt x="7144" y="483394"/>
                  </a:moveTo>
                  <a:cubicBezTo>
                    <a:pt x="7144" y="504349"/>
                    <a:pt x="24289" y="521494"/>
                    <a:pt x="45244" y="521494"/>
                  </a:cubicBezTo>
                  <a:lnTo>
                    <a:pt x="330994" y="521494"/>
                  </a:lnTo>
                  <a:cubicBezTo>
                    <a:pt x="351949" y="521494"/>
                    <a:pt x="369094" y="504349"/>
                    <a:pt x="369094" y="483394"/>
                  </a:cubicBezTo>
                  <a:lnTo>
                    <a:pt x="369094" y="121444"/>
                  </a:lnTo>
                  <a:cubicBezTo>
                    <a:pt x="369094" y="118586"/>
                    <a:pt x="368141" y="116681"/>
                    <a:pt x="366236" y="114776"/>
                  </a:cubicBezTo>
                  <a:lnTo>
                    <a:pt x="261461" y="10001"/>
                  </a:lnTo>
                  <a:cubicBezTo>
                    <a:pt x="259556" y="8096"/>
                    <a:pt x="257651" y="7144"/>
                    <a:pt x="254794" y="7144"/>
                  </a:cubicBezTo>
                  <a:lnTo>
                    <a:pt x="45244" y="7144"/>
                  </a:lnTo>
                  <a:cubicBezTo>
                    <a:pt x="24289" y="7144"/>
                    <a:pt x="7144" y="24289"/>
                    <a:pt x="7144" y="45244"/>
                  </a:cubicBezTo>
                  <a:lnTo>
                    <a:pt x="7144" y="483394"/>
                  </a:lnTo>
                  <a:close/>
                  <a:moveTo>
                    <a:pt x="346234" y="121444"/>
                  </a:moveTo>
                  <a:lnTo>
                    <a:pt x="273844" y="121444"/>
                  </a:lnTo>
                  <a:cubicBezTo>
                    <a:pt x="263366" y="121444"/>
                    <a:pt x="254794" y="112871"/>
                    <a:pt x="254794" y="102394"/>
                  </a:cubicBezTo>
                  <a:lnTo>
                    <a:pt x="254794" y="30004"/>
                  </a:lnTo>
                  <a:lnTo>
                    <a:pt x="346234" y="121444"/>
                  </a:lnTo>
                  <a:close/>
                  <a:moveTo>
                    <a:pt x="26194" y="45244"/>
                  </a:moveTo>
                  <a:cubicBezTo>
                    <a:pt x="26194" y="34766"/>
                    <a:pt x="34766" y="26194"/>
                    <a:pt x="45244" y="26194"/>
                  </a:cubicBezTo>
                  <a:lnTo>
                    <a:pt x="235744" y="26194"/>
                  </a:lnTo>
                  <a:lnTo>
                    <a:pt x="235744" y="102394"/>
                  </a:lnTo>
                  <a:cubicBezTo>
                    <a:pt x="235744" y="123349"/>
                    <a:pt x="252889" y="140494"/>
                    <a:pt x="273844" y="140494"/>
                  </a:cubicBezTo>
                  <a:lnTo>
                    <a:pt x="350044" y="140494"/>
                  </a:lnTo>
                  <a:lnTo>
                    <a:pt x="350044" y="483394"/>
                  </a:lnTo>
                  <a:cubicBezTo>
                    <a:pt x="350044" y="493871"/>
                    <a:pt x="341471" y="502444"/>
                    <a:pt x="330994" y="502444"/>
                  </a:cubicBezTo>
                  <a:lnTo>
                    <a:pt x="45244" y="502444"/>
                  </a:lnTo>
                  <a:cubicBezTo>
                    <a:pt x="34766" y="502444"/>
                    <a:pt x="26194" y="493871"/>
                    <a:pt x="26194" y="483394"/>
                  </a:cubicBezTo>
                  <a:lnTo>
                    <a:pt x="26194" y="45244"/>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7" name="Freihandform: Form 360">
              <a:extLst>
                <a:ext uri="{FF2B5EF4-FFF2-40B4-BE49-F238E27FC236}">
                  <a16:creationId xmlns:a16="http://schemas.microsoft.com/office/drawing/2014/main" id="{19B2A03E-AE79-4DD7-A6EE-0975CA3277E1}"/>
                </a:ext>
              </a:extLst>
            </p:cNvPr>
            <p:cNvSpPr/>
            <p:nvPr/>
          </p:nvSpPr>
          <p:spPr>
            <a:xfrm>
              <a:off x="2533331" y="1756570"/>
              <a:ext cx="142875" cy="28575"/>
            </a:xfrm>
            <a:custGeom>
              <a:avLst/>
              <a:gdLst>
                <a:gd name="connsiteX0" fmla="*/ 16669 w 142875"/>
                <a:gd name="connsiteY0" fmla="*/ 26194 h 28575"/>
                <a:gd name="connsiteX1" fmla="*/ 130969 w 142875"/>
                <a:gd name="connsiteY1" fmla="*/ 26194 h 28575"/>
                <a:gd name="connsiteX2" fmla="*/ 140494 w 142875"/>
                <a:gd name="connsiteY2" fmla="*/ 16669 h 28575"/>
                <a:gd name="connsiteX3" fmla="*/ 130969 w 142875"/>
                <a:gd name="connsiteY3" fmla="*/ 7144 h 28575"/>
                <a:gd name="connsiteX4" fmla="*/ 16669 w 142875"/>
                <a:gd name="connsiteY4" fmla="*/ 7144 h 28575"/>
                <a:gd name="connsiteX5" fmla="*/ 7144 w 142875"/>
                <a:gd name="connsiteY5" fmla="*/ 16669 h 28575"/>
                <a:gd name="connsiteX6" fmla="*/ 16669 w 142875"/>
                <a:gd name="connsiteY6" fmla="*/ 2619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5" h="28575">
                  <a:moveTo>
                    <a:pt x="16669" y="26194"/>
                  </a:moveTo>
                  <a:lnTo>
                    <a:pt x="130969" y="26194"/>
                  </a:lnTo>
                  <a:cubicBezTo>
                    <a:pt x="136684" y="26194"/>
                    <a:pt x="140494" y="22384"/>
                    <a:pt x="140494" y="16669"/>
                  </a:cubicBezTo>
                  <a:cubicBezTo>
                    <a:pt x="140494" y="10954"/>
                    <a:pt x="136684" y="7144"/>
                    <a:pt x="130969" y="7144"/>
                  </a:cubicBezTo>
                  <a:lnTo>
                    <a:pt x="16669" y="7144"/>
                  </a:lnTo>
                  <a:cubicBezTo>
                    <a:pt x="10954" y="7144"/>
                    <a:pt x="7144" y="10954"/>
                    <a:pt x="7144" y="16669"/>
                  </a:cubicBezTo>
                  <a:cubicBezTo>
                    <a:pt x="7144" y="22384"/>
                    <a:pt x="10954" y="26194"/>
                    <a:pt x="16669" y="26194"/>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8" name="Freihandform: Form 361">
              <a:extLst>
                <a:ext uri="{FF2B5EF4-FFF2-40B4-BE49-F238E27FC236}">
                  <a16:creationId xmlns:a16="http://schemas.microsoft.com/office/drawing/2014/main" id="{E88D7C07-033A-4DFF-AEE3-BBB258245CE6}"/>
                </a:ext>
              </a:extLst>
            </p:cNvPr>
            <p:cNvSpPr/>
            <p:nvPr/>
          </p:nvSpPr>
          <p:spPr>
            <a:xfrm>
              <a:off x="2533331" y="1813720"/>
              <a:ext cx="257175" cy="28575"/>
            </a:xfrm>
            <a:custGeom>
              <a:avLst/>
              <a:gdLst>
                <a:gd name="connsiteX0" fmla="*/ 16669 w 257175"/>
                <a:gd name="connsiteY0" fmla="*/ 26194 h 28575"/>
                <a:gd name="connsiteX1" fmla="*/ 245269 w 257175"/>
                <a:gd name="connsiteY1" fmla="*/ 26194 h 28575"/>
                <a:gd name="connsiteX2" fmla="*/ 254794 w 257175"/>
                <a:gd name="connsiteY2" fmla="*/ 16669 h 28575"/>
                <a:gd name="connsiteX3" fmla="*/ 245269 w 257175"/>
                <a:gd name="connsiteY3" fmla="*/ 7144 h 28575"/>
                <a:gd name="connsiteX4" fmla="*/ 16669 w 257175"/>
                <a:gd name="connsiteY4" fmla="*/ 7144 h 28575"/>
                <a:gd name="connsiteX5" fmla="*/ 7144 w 257175"/>
                <a:gd name="connsiteY5" fmla="*/ 16669 h 28575"/>
                <a:gd name="connsiteX6" fmla="*/ 16669 w 257175"/>
                <a:gd name="connsiteY6" fmla="*/ 2619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 h="28575">
                  <a:moveTo>
                    <a:pt x="16669" y="26194"/>
                  </a:moveTo>
                  <a:lnTo>
                    <a:pt x="245269" y="26194"/>
                  </a:lnTo>
                  <a:cubicBezTo>
                    <a:pt x="250984" y="26194"/>
                    <a:pt x="254794" y="22384"/>
                    <a:pt x="254794" y="16669"/>
                  </a:cubicBezTo>
                  <a:cubicBezTo>
                    <a:pt x="254794" y="10954"/>
                    <a:pt x="250984" y="7144"/>
                    <a:pt x="245269" y="7144"/>
                  </a:cubicBezTo>
                  <a:lnTo>
                    <a:pt x="16669" y="7144"/>
                  </a:lnTo>
                  <a:cubicBezTo>
                    <a:pt x="10954" y="7144"/>
                    <a:pt x="7144" y="10954"/>
                    <a:pt x="7144" y="16669"/>
                  </a:cubicBezTo>
                  <a:cubicBezTo>
                    <a:pt x="7144" y="22384"/>
                    <a:pt x="10954" y="26194"/>
                    <a:pt x="16669" y="26194"/>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9" name="Freihandform: Form 362">
              <a:extLst>
                <a:ext uri="{FF2B5EF4-FFF2-40B4-BE49-F238E27FC236}">
                  <a16:creationId xmlns:a16="http://schemas.microsoft.com/office/drawing/2014/main" id="{D489A944-3D51-4359-8723-F2D9A114F09A}"/>
                </a:ext>
              </a:extLst>
            </p:cNvPr>
            <p:cNvSpPr/>
            <p:nvPr/>
          </p:nvSpPr>
          <p:spPr>
            <a:xfrm>
              <a:off x="2533331" y="1870870"/>
              <a:ext cx="257175" cy="28575"/>
            </a:xfrm>
            <a:custGeom>
              <a:avLst/>
              <a:gdLst>
                <a:gd name="connsiteX0" fmla="*/ 16669 w 257175"/>
                <a:gd name="connsiteY0" fmla="*/ 26194 h 28575"/>
                <a:gd name="connsiteX1" fmla="*/ 245269 w 257175"/>
                <a:gd name="connsiteY1" fmla="*/ 26194 h 28575"/>
                <a:gd name="connsiteX2" fmla="*/ 254794 w 257175"/>
                <a:gd name="connsiteY2" fmla="*/ 16669 h 28575"/>
                <a:gd name="connsiteX3" fmla="*/ 245269 w 257175"/>
                <a:gd name="connsiteY3" fmla="*/ 7144 h 28575"/>
                <a:gd name="connsiteX4" fmla="*/ 16669 w 257175"/>
                <a:gd name="connsiteY4" fmla="*/ 7144 h 28575"/>
                <a:gd name="connsiteX5" fmla="*/ 7144 w 257175"/>
                <a:gd name="connsiteY5" fmla="*/ 16669 h 28575"/>
                <a:gd name="connsiteX6" fmla="*/ 16669 w 257175"/>
                <a:gd name="connsiteY6" fmla="*/ 2619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 h="28575">
                  <a:moveTo>
                    <a:pt x="16669" y="26194"/>
                  </a:moveTo>
                  <a:lnTo>
                    <a:pt x="245269" y="26194"/>
                  </a:lnTo>
                  <a:cubicBezTo>
                    <a:pt x="250984" y="26194"/>
                    <a:pt x="254794" y="22384"/>
                    <a:pt x="254794" y="16669"/>
                  </a:cubicBezTo>
                  <a:cubicBezTo>
                    <a:pt x="254794" y="10954"/>
                    <a:pt x="250984" y="7144"/>
                    <a:pt x="245269" y="7144"/>
                  </a:cubicBezTo>
                  <a:lnTo>
                    <a:pt x="16669" y="7144"/>
                  </a:lnTo>
                  <a:cubicBezTo>
                    <a:pt x="10954" y="7144"/>
                    <a:pt x="7144" y="10954"/>
                    <a:pt x="7144" y="16669"/>
                  </a:cubicBezTo>
                  <a:cubicBezTo>
                    <a:pt x="7144" y="22384"/>
                    <a:pt x="10954" y="26194"/>
                    <a:pt x="16669" y="26194"/>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0" name="Freihandform: Form 363">
              <a:extLst>
                <a:ext uri="{FF2B5EF4-FFF2-40B4-BE49-F238E27FC236}">
                  <a16:creationId xmlns:a16="http://schemas.microsoft.com/office/drawing/2014/main" id="{D1E7082B-0757-4C64-9610-E6B81F536D84}"/>
                </a:ext>
              </a:extLst>
            </p:cNvPr>
            <p:cNvSpPr/>
            <p:nvPr/>
          </p:nvSpPr>
          <p:spPr>
            <a:xfrm>
              <a:off x="2533331" y="1928020"/>
              <a:ext cx="257175" cy="28575"/>
            </a:xfrm>
            <a:custGeom>
              <a:avLst/>
              <a:gdLst>
                <a:gd name="connsiteX0" fmla="*/ 16669 w 257175"/>
                <a:gd name="connsiteY0" fmla="*/ 26194 h 28575"/>
                <a:gd name="connsiteX1" fmla="*/ 245269 w 257175"/>
                <a:gd name="connsiteY1" fmla="*/ 26194 h 28575"/>
                <a:gd name="connsiteX2" fmla="*/ 254794 w 257175"/>
                <a:gd name="connsiteY2" fmla="*/ 16669 h 28575"/>
                <a:gd name="connsiteX3" fmla="*/ 245269 w 257175"/>
                <a:gd name="connsiteY3" fmla="*/ 7144 h 28575"/>
                <a:gd name="connsiteX4" fmla="*/ 16669 w 257175"/>
                <a:gd name="connsiteY4" fmla="*/ 7144 h 28575"/>
                <a:gd name="connsiteX5" fmla="*/ 7144 w 257175"/>
                <a:gd name="connsiteY5" fmla="*/ 16669 h 28575"/>
                <a:gd name="connsiteX6" fmla="*/ 16669 w 257175"/>
                <a:gd name="connsiteY6" fmla="*/ 2619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 h="28575">
                  <a:moveTo>
                    <a:pt x="16669" y="26194"/>
                  </a:moveTo>
                  <a:lnTo>
                    <a:pt x="245269" y="26194"/>
                  </a:lnTo>
                  <a:cubicBezTo>
                    <a:pt x="250984" y="26194"/>
                    <a:pt x="254794" y="22384"/>
                    <a:pt x="254794" y="16669"/>
                  </a:cubicBezTo>
                  <a:cubicBezTo>
                    <a:pt x="254794" y="10954"/>
                    <a:pt x="250984" y="7144"/>
                    <a:pt x="245269" y="7144"/>
                  </a:cubicBezTo>
                  <a:lnTo>
                    <a:pt x="16669" y="7144"/>
                  </a:lnTo>
                  <a:cubicBezTo>
                    <a:pt x="10954" y="7144"/>
                    <a:pt x="7144" y="10954"/>
                    <a:pt x="7144" y="16669"/>
                  </a:cubicBezTo>
                  <a:cubicBezTo>
                    <a:pt x="7144" y="22384"/>
                    <a:pt x="10954" y="26194"/>
                    <a:pt x="16669" y="26194"/>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1" name="Freihandform: Form 364">
              <a:extLst>
                <a:ext uri="{FF2B5EF4-FFF2-40B4-BE49-F238E27FC236}">
                  <a16:creationId xmlns:a16="http://schemas.microsoft.com/office/drawing/2014/main" id="{EF0BE6FB-5F2F-454F-B2F6-FFCCD0959E44}"/>
                </a:ext>
              </a:extLst>
            </p:cNvPr>
            <p:cNvSpPr/>
            <p:nvPr/>
          </p:nvSpPr>
          <p:spPr>
            <a:xfrm>
              <a:off x="2533331" y="1985170"/>
              <a:ext cx="142875" cy="47625"/>
            </a:xfrm>
            <a:custGeom>
              <a:avLst/>
              <a:gdLst>
                <a:gd name="connsiteX0" fmla="*/ 35719 w 142875"/>
                <a:gd name="connsiteY0" fmla="*/ 45244 h 47625"/>
                <a:gd name="connsiteX1" fmla="*/ 54769 w 142875"/>
                <a:gd name="connsiteY1" fmla="*/ 37624 h 47625"/>
                <a:gd name="connsiteX2" fmla="*/ 73819 w 142875"/>
                <a:gd name="connsiteY2" fmla="*/ 45244 h 47625"/>
                <a:gd name="connsiteX3" fmla="*/ 92869 w 142875"/>
                <a:gd name="connsiteY3" fmla="*/ 37624 h 47625"/>
                <a:gd name="connsiteX4" fmla="*/ 111919 w 142875"/>
                <a:gd name="connsiteY4" fmla="*/ 45244 h 47625"/>
                <a:gd name="connsiteX5" fmla="*/ 140494 w 142875"/>
                <a:gd name="connsiteY5" fmla="*/ 16669 h 47625"/>
                <a:gd name="connsiteX6" fmla="*/ 130969 w 142875"/>
                <a:gd name="connsiteY6" fmla="*/ 7144 h 47625"/>
                <a:gd name="connsiteX7" fmla="*/ 121444 w 142875"/>
                <a:gd name="connsiteY7" fmla="*/ 16669 h 47625"/>
                <a:gd name="connsiteX8" fmla="*/ 111919 w 142875"/>
                <a:gd name="connsiteY8" fmla="*/ 26194 h 47625"/>
                <a:gd name="connsiteX9" fmla="*/ 102394 w 142875"/>
                <a:gd name="connsiteY9" fmla="*/ 16669 h 47625"/>
                <a:gd name="connsiteX10" fmla="*/ 92869 w 142875"/>
                <a:gd name="connsiteY10" fmla="*/ 7144 h 47625"/>
                <a:gd name="connsiteX11" fmla="*/ 83344 w 142875"/>
                <a:gd name="connsiteY11" fmla="*/ 16669 h 47625"/>
                <a:gd name="connsiteX12" fmla="*/ 73819 w 142875"/>
                <a:gd name="connsiteY12" fmla="*/ 26194 h 47625"/>
                <a:gd name="connsiteX13" fmla="*/ 64294 w 142875"/>
                <a:gd name="connsiteY13" fmla="*/ 16669 h 47625"/>
                <a:gd name="connsiteX14" fmla="*/ 54769 w 142875"/>
                <a:gd name="connsiteY14" fmla="*/ 7144 h 47625"/>
                <a:gd name="connsiteX15" fmla="*/ 45244 w 142875"/>
                <a:gd name="connsiteY15" fmla="*/ 16669 h 47625"/>
                <a:gd name="connsiteX16" fmla="*/ 35719 w 142875"/>
                <a:gd name="connsiteY16" fmla="*/ 26194 h 47625"/>
                <a:gd name="connsiteX17" fmla="*/ 26194 w 142875"/>
                <a:gd name="connsiteY17" fmla="*/ 16669 h 47625"/>
                <a:gd name="connsiteX18" fmla="*/ 16669 w 142875"/>
                <a:gd name="connsiteY18" fmla="*/ 7144 h 47625"/>
                <a:gd name="connsiteX19" fmla="*/ 7144 w 142875"/>
                <a:gd name="connsiteY19" fmla="*/ 16669 h 47625"/>
                <a:gd name="connsiteX20" fmla="*/ 35719 w 142875"/>
                <a:gd name="connsiteY20" fmla="*/ 4524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2875" h="47625">
                  <a:moveTo>
                    <a:pt x="35719" y="45244"/>
                  </a:moveTo>
                  <a:cubicBezTo>
                    <a:pt x="43339" y="45244"/>
                    <a:pt x="50006" y="42386"/>
                    <a:pt x="54769" y="37624"/>
                  </a:cubicBezTo>
                  <a:cubicBezTo>
                    <a:pt x="59531" y="42386"/>
                    <a:pt x="66199" y="45244"/>
                    <a:pt x="73819" y="45244"/>
                  </a:cubicBezTo>
                  <a:cubicBezTo>
                    <a:pt x="81439" y="45244"/>
                    <a:pt x="88106" y="42386"/>
                    <a:pt x="92869" y="37624"/>
                  </a:cubicBezTo>
                  <a:cubicBezTo>
                    <a:pt x="97631" y="42386"/>
                    <a:pt x="104299" y="45244"/>
                    <a:pt x="111919" y="45244"/>
                  </a:cubicBezTo>
                  <a:cubicBezTo>
                    <a:pt x="128111" y="45244"/>
                    <a:pt x="140494" y="32861"/>
                    <a:pt x="140494" y="16669"/>
                  </a:cubicBezTo>
                  <a:cubicBezTo>
                    <a:pt x="140494" y="10954"/>
                    <a:pt x="136684" y="7144"/>
                    <a:pt x="130969" y="7144"/>
                  </a:cubicBezTo>
                  <a:cubicBezTo>
                    <a:pt x="125254" y="7144"/>
                    <a:pt x="121444" y="10954"/>
                    <a:pt x="121444" y="16669"/>
                  </a:cubicBezTo>
                  <a:cubicBezTo>
                    <a:pt x="121444" y="22384"/>
                    <a:pt x="117634" y="26194"/>
                    <a:pt x="111919" y="26194"/>
                  </a:cubicBezTo>
                  <a:cubicBezTo>
                    <a:pt x="106204" y="26194"/>
                    <a:pt x="102394" y="22384"/>
                    <a:pt x="102394" y="16669"/>
                  </a:cubicBezTo>
                  <a:cubicBezTo>
                    <a:pt x="102394" y="10954"/>
                    <a:pt x="98584" y="7144"/>
                    <a:pt x="92869" y="7144"/>
                  </a:cubicBezTo>
                  <a:cubicBezTo>
                    <a:pt x="87154" y="7144"/>
                    <a:pt x="83344" y="10954"/>
                    <a:pt x="83344" y="16669"/>
                  </a:cubicBezTo>
                  <a:cubicBezTo>
                    <a:pt x="83344" y="22384"/>
                    <a:pt x="79534" y="26194"/>
                    <a:pt x="73819" y="26194"/>
                  </a:cubicBezTo>
                  <a:cubicBezTo>
                    <a:pt x="68104" y="26194"/>
                    <a:pt x="64294" y="22384"/>
                    <a:pt x="64294" y="16669"/>
                  </a:cubicBezTo>
                  <a:cubicBezTo>
                    <a:pt x="64294" y="10954"/>
                    <a:pt x="60484" y="7144"/>
                    <a:pt x="54769" y="7144"/>
                  </a:cubicBezTo>
                  <a:cubicBezTo>
                    <a:pt x="49054" y="7144"/>
                    <a:pt x="45244" y="10954"/>
                    <a:pt x="45244" y="16669"/>
                  </a:cubicBezTo>
                  <a:cubicBezTo>
                    <a:pt x="45244" y="22384"/>
                    <a:pt x="41434" y="26194"/>
                    <a:pt x="35719" y="26194"/>
                  </a:cubicBezTo>
                  <a:cubicBezTo>
                    <a:pt x="30004" y="26194"/>
                    <a:pt x="26194" y="22384"/>
                    <a:pt x="26194" y="16669"/>
                  </a:cubicBezTo>
                  <a:cubicBezTo>
                    <a:pt x="26194" y="10954"/>
                    <a:pt x="22384" y="7144"/>
                    <a:pt x="16669" y="7144"/>
                  </a:cubicBezTo>
                  <a:cubicBezTo>
                    <a:pt x="10954" y="7144"/>
                    <a:pt x="7144" y="10954"/>
                    <a:pt x="7144" y="16669"/>
                  </a:cubicBezTo>
                  <a:cubicBezTo>
                    <a:pt x="7144" y="32861"/>
                    <a:pt x="19526" y="45244"/>
                    <a:pt x="35719" y="45244"/>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2" name="Freihandform: Form 365">
              <a:extLst>
                <a:ext uri="{FF2B5EF4-FFF2-40B4-BE49-F238E27FC236}">
                  <a16:creationId xmlns:a16="http://schemas.microsoft.com/office/drawing/2014/main" id="{FA8D894E-54A2-4B2C-B9BD-63F261E48950}"/>
                </a:ext>
              </a:extLst>
            </p:cNvPr>
            <p:cNvSpPr/>
            <p:nvPr/>
          </p:nvSpPr>
          <p:spPr>
            <a:xfrm>
              <a:off x="2875147" y="1642270"/>
              <a:ext cx="142875" cy="485775"/>
            </a:xfrm>
            <a:custGeom>
              <a:avLst/>
              <a:gdLst>
                <a:gd name="connsiteX0" fmla="*/ 84428 w 142875"/>
                <a:gd name="connsiteY0" fmla="*/ 343376 h 485775"/>
                <a:gd name="connsiteX1" fmla="*/ 102526 w 142875"/>
                <a:gd name="connsiteY1" fmla="*/ 195739 h 485775"/>
                <a:gd name="connsiteX2" fmla="*/ 112051 w 142875"/>
                <a:gd name="connsiteY2" fmla="*/ 197644 h 485775"/>
                <a:gd name="connsiteX3" fmla="*/ 140626 w 142875"/>
                <a:gd name="connsiteY3" fmla="*/ 169069 h 485775"/>
                <a:gd name="connsiteX4" fmla="*/ 59663 w 142875"/>
                <a:gd name="connsiteY4" fmla="*/ 8096 h 485775"/>
                <a:gd name="connsiteX5" fmla="*/ 54901 w 142875"/>
                <a:gd name="connsiteY5" fmla="*/ 7144 h 485775"/>
                <a:gd name="connsiteX6" fmla="*/ 54901 w 142875"/>
                <a:gd name="connsiteY6" fmla="*/ 7144 h 485775"/>
                <a:gd name="connsiteX7" fmla="*/ 54901 w 142875"/>
                <a:gd name="connsiteY7" fmla="*/ 7144 h 485775"/>
                <a:gd name="connsiteX8" fmla="*/ 54901 w 142875"/>
                <a:gd name="connsiteY8" fmla="*/ 7144 h 485775"/>
                <a:gd name="connsiteX9" fmla="*/ 40613 w 142875"/>
                <a:gd name="connsiteY9" fmla="*/ 13811 h 485775"/>
                <a:gd name="connsiteX10" fmla="*/ 7276 w 142875"/>
                <a:gd name="connsiteY10" fmla="*/ 188119 h 485775"/>
                <a:gd name="connsiteX11" fmla="*/ 25373 w 142875"/>
                <a:gd name="connsiteY11" fmla="*/ 343376 h 485775"/>
                <a:gd name="connsiteX12" fmla="*/ 32993 w 142875"/>
                <a:gd name="connsiteY12" fmla="*/ 350044 h 485775"/>
                <a:gd name="connsiteX13" fmla="*/ 10133 w 142875"/>
                <a:gd name="connsiteY13" fmla="*/ 391001 h 485775"/>
                <a:gd name="connsiteX14" fmla="*/ 9181 w 142875"/>
                <a:gd name="connsiteY14" fmla="*/ 403384 h 485775"/>
                <a:gd name="connsiteX15" fmla="*/ 45376 w 142875"/>
                <a:gd name="connsiteY15" fmla="*/ 473869 h 485775"/>
                <a:gd name="connsiteX16" fmla="*/ 54901 w 142875"/>
                <a:gd name="connsiteY16" fmla="*/ 483394 h 485775"/>
                <a:gd name="connsiteX17" fmla="*/ 54901 w 142875"/>
                <a:gd name="connsiteY17" fmla="*/ 483394 h 485775"/>
                <a:gd name="connsiteX18" fmla="*/ 64426 w 142875"/>
                <a:gd name="connsiteY18" fmla="*/ 473869 h 485775"/>
                <a:gd name="connsiteX19" fmla="*/ 64426 w 142875"/>
                <a:gd name="connsiteY19" fmla="*/ 473869 h 485775"/>
                <a:gd name="connsiteX20" fmla="*/ 100621 w 142875"/>
                <a:gd name="connsiteY20" fmla="*/ 403384 h 485775"/>
                <a:gd name="connsiteX21" fmla="*/ 99668 w 142875"/>
                <a:gd name="connsiteY21" fmla="*/ 391001 h 485775"/>
                <a:gd name="connsiteX22" fmla="*/ 76808 w 142875"/>
                <a:gd name="connsiteY22" fmla="*/ 350044 h 485775"/>
                <a:gd name="connsiteX23" fmla="*/ 84428 w 142875"/>
                <a:gd name="connsiteY23" fmla="*/ 343376 h 485775"/>
                <a:gd name="connsiteX24" fmla="*/ 113003 w 142875"/>
                <a:gd name="connsiteY24" fmla="*/ 178594 h 485775"/>
                <a:gd name="connsiteX25" fmla="*/ 103478 w 142875"/>
                <a:gd name="connsiteY25" fmla="*/ 169069 h 485775"/>
                <a:gd name="connsiteX26" fmla="*/ 113003 w 142875"/>
                <a:gd name="connsiteY26" fmla="*/ 159544 h 485775"/>
                <a:gd name="connsiteX27" fmla="*/ 122528 w 142875"/>
                <a:gd name="connsiteY27" fmla="*/ 169069 h 485775"/>
                <a:gd name="connsiteX28" fmla="*/ 113003 w 142875"/>
                <a:gd name="connsiteY28" fmla="*/ 178594 h 485775"/>
                <a:gd name="connsiteX29" fmla="*/ 120623 w 142875"/>
                <a:gd name="connsiteY29" fmla="*/ 141446 h 485775"/>
                <a:gd name="connsiteX30" fmla="*/ 113003 w 142875"/>
                <a:gd name="connsiteY30" fmla="*/ 140494 h 485775"/>
                <a:gd name="connsiteX31" fmla="*/ 102526 w 142875"/>
                <a:gd name="connsiteY31" fmla="*/ 142399 h 485775"/>
                <a:gd name="connsiteX32" fmla="*/ 89191 w 142875"/>
                <a:gd name="connsiteY32" fmla="*/ 53816 h 485775"/>
                <a:gd name="connsiteX33" fmla="*/ 120623 w 142875"/>
                <a:gd name="connsiteY33" fmla="*/ 141446 h 485775"/>
                <a:gd name="connsiteX34" fmla="*/ 55853 w 142875"/>
                <a:gd name="connsiteY34" fmla="*/ 26194 h 485775"/>
                <a:gd name="connsiteX35" fmla="*/ 84428 w 142875"/>
                <a:gd name="connsiteY35" fmla="*/ 178594 h 485775"/>
                <a:gd name="connsiteX36" fmla="*/ 27278 w 142875"/>
                <a:gd name="connsiteY36" fmla="*/ 178594 h 485775"/>
                <a:gd name="connsiteX37" fmla="*/ 55853 w 142875"/>
                <a:gd name="connsiteY37" fmla="*/ 26194 h 485775"/>
                <a:gd name="connsiteX38" fmla="*/ 27278 w 142875"/>
                <a:gd name="connsiteY38" fmla="*/ 197644 h 485775"/>
                <a:gd name="connsiteX39" fmla="*/ 84428 w 142875"/>
                <a:gd name="connsiteY39" fmla="*/ 197644 h 485775"/>
                <a:gd name="connsiteX40" fmla="*/ 69188 w 142875"/>
                <a:gd name="connsiteY40" fmla="*/ 330994 h 485775"/>
                <a:gd name="connsiteX41" fmla="*/ 43471 w 142875"/>
                <a:gd name="connsiteY41" fmla="*/ 330994 h 485775"/>
                <a:gd name="connsiteX42" fmla="*/ 27278 w 142875"/>
                <a:gd name="connsiteY42" fmla="*/ 197644 h 485775"/>
                <a:gd name="connsiteX43" fmla="*/ 55853 w 142875"/>
                <a:gd name="connsiteY43" fmla="*/ 439579 h 485775"/>
                <a:gd name="connsiteX44" fmla="*/ 30136 w 142875"/>
                <a:gd name="connsiteY44" fmla="*/ 397669 h 485775"/>
                <a:gd name="connsiteX45" fmla="*/ 53948 w 142875"/>
                <a:gd name="connsiteY45" fmla="*/ 350044 h 485775"/>
                <a:gd name="connsiteX46" fmla="*/ 57758 w 142875"/>
                <a:gd name="connsiteY46" fmla="*/ 350044 h 485775"/>
                <a:gd name="connsiteX47" fmla="*/ 81571 w 142875"/>
                <a:gd name="connsiteY47" fmla="*/ 397669 h 485775"/>
                <a:gd name="connsiteX48" fmla="*/ 55853 w 142875"/>
                <a:gd name="connsiteY48" fmla="*/ 439579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2875" h="485775">
                  <a:moveTo>
                    <a:pt x="84428" y="343376"/>
                  </a:moveTo>
                  <a:cubicBezTo>
                    <a:pt x="94906" y="311944"/>
                    <a:pt x="101573" y="254794"/>
                    <a:pt x="102526" y="195739"/>
                  </a:cubicBezTo>
                  <a:cubicBezTo>
                    <a:pt x="105383" y="196691"/>
                    <a:pt x="109193" y="197644"/>
                    <a:pt x="112051" y="197644"/>
                  </a:cubicBezTo>
                  <a:cubicBezTo>
                    <a:pt x="128243" y="197644"/>
                    <a:pt x="140626" y="185261"/>
                    <a:pt x="140626" y="169069"/>
                  </a:cubicBezTo>
                  <a:cubicBezTo>
                    <a:pt x="140626" y="80486"/>
                    <a:pt x="93001" y="13811"/>
                    <a:pt x="59663" y="8096"/>
                  </a:cubicBezTo>
                  <a:cubicBezTo>
                    <a:pt x="57758" y="8096"/>
                    <a:pt x="56806" y="7144"/>
                    <a:pt x="54901" y="7144"/>
                  </a:cubicBezTo>
                  <a:cubicBezTo>
                    <a:pt x="54901" y="7144"/>
                    <a:pt x="54901" y="7144"/>
                    <a:pt x="54901" y="7144"/>
                  </a:cubicBezTo>
                  <a:cubicBezTo>
                    <a:pt x="54901" y="7144"/>
                    <a:pt x="54901" y="7144"/>
                    <a:pt x="54901" y="7144"/>
                  </a:cubicBezTo>
                  <a:cubicBezTo>
                    <a:pt x="54901" y="7144"/>
                    <a:pt x="54901" y="7144"/>
                    <a:pt x="54901" y="7144"/>
                  </a:cubicBezTo>
                  <a:cubicBezTo>
                    <a:pt x="51091" y="7144"/>
                    <a:pt x="46328" y="8096"/>
                    <a:pt x="40613" y="13811"/>
                  </a:cubicBezTo>
                  <a:cubicBezTo>
                    <a:pt x="20611" y="33814"/>
                    <a:pt x="6323" y="107156"/>
                    <a:pt x="7276" y="188119"/>
                  </a:cubicBezTo>
                  <a:cubicBezTo>
                    <a:pt x="7276" y="250031"/>
                    <a:pt x="14896" y="310991"/>
                    <a:pt x="25373" y="343376"/>
                  </a:cubicBezTo>
                  <a:cubicBezTo>
                    <a:pt x="26326" y="346234"/>
                    <a:pt x="29183" y="349091"/>
                    <a:pt x="32993" y="350044"/>
                  </a:cubicBezTo>
                  <a:cubicBezTo>
                    <a:pt x="29183" y="361474"/>
                    <a:pt x="22516" y="378619"/>
                    <a:pt x="10133" y="391001"/>
                  </a:cubicBezTo>
                  <a:cubicBezTo>
                    <a:pt x="6323" y="394811"/>
                    <a:pt x="6323" y="399574"/>
                    <a:pt x="9181" y="403384"/>
                  </a:cubicBezTo>
                  <a:cubicBezTo>
                    <a:pt x="18706" y="415766"/>
                    <a:pt x="45376" y="452914"/>
                    <a:pt x="45376" y="473869"/>
                  </a:cubicBezTo>
                  <a:cubicBezTo>
                    <a:pt x="45376" y="478631"/>
                    <a:pt x="50138" y="483394"/>
                    <a:pt x="54901" y="483394"/>
                  </a:cubicBezTo>
                  <a:cubicBezTo>
                    <a:pt x="54901" y="483394"/>
                    <a:pt x="54901" y="483394"/>
                    <a:pt x="54901" y="483394"/>
                  </a:cubicBezTo>
                  <a:cubicBezTo>
                    <a:pt x="60616" y="483394"/>
                    <a:pt x="64426" y="478631"/>
                    <a:pt x="64426" y="473869"/>
                  </a:cubicBezTo>
                  <a:cubicBezTo>
                    <a:pt x="64426" y="473869"/>
                    <a:pt x="64426" y="473869"/>
                    <a:pt x="64426" y="473869"/>
                  </a:cubicBezTo>
                  <a:cubicBezTo>
                    <a:pt x="64426" y="452914"/>
                    <a:pt x="90143" y="415766"/>
                    <a:pt x="100621" y="403384"/>
                  </a:cubicBezTo>
                  <a:cubicBezTo>
                    <a:pt x="103478" y="399574"/>
                    <a:pt x="103478" y="393859"/>
                    <a:pt x="99668" y="391001"/>
                  </a:cubicBezTo>
                  <a:cubicBezTo>
                    <a:pt x="87286" y="378619"/>
                    <a:pt x="79666" y="360521"/>
                    <a:pt x="76808" y="350044"/>
                  </a:cubicBezTo>
                  <a:cubicBezTo>
                    <a:pt x="80618" y="349091"/>
                    <a:pt x="83476" y="347186"/>
                    <a:pt x="84428" y="343376"/>
                  </a:cubicBezTo>
                  <a:close/>
                  <a:moveTo>
                    <a:pt x="113003" y="178594"/>
                  </a:moveTo>
                  <a:cubicBezTo>
                    <a:pt x="107288" y="178594"/>
                    <a:pt x="103478" y="174784"/>
                    <a:pt x="103478" y="169069"/>
                  </a:cubicBezTo>
                  <a:cubicBezTo>
                    <a:pt x="103478" y="163354"/>
                    <a:pt x="107288" y="159544"/>
                    <a:pt x="113003" y="159544"/>
                  </a:cubicBezTo>
                  <a:cubicBezTo>
                    <a:pt x="118718" y="159544"/>
                    <a:pt x="122528" y="163354"/>
                    <a:pt x="122528" y="169069"/>
                  </a:cubicBezTo>
                  <a:cubicBezTo>
                    <a:pt x="122528" y="174784"/>
                    <a:pt x="118718" y="178594"/>
                    <a:pt x="113003" y="178594"/>
                  </a:cubicBezTo>
                  <a:close/>
                  <a:moveTo>
                    <a:pt x="120623" y="141446"/>
                  </a:moveTo>
                  <a:cubicBezTo>
                    <a:pt x="117766" y="140494"/>
                    <a:pt x="115861" y="140494"/>
                    <a:pt x="113003" y="140494"/>
                  </a:cubicBezTo>
                  <a:cubicBezTo>
                    <a:pt x="109193" y="140494"/>
                    <a:pt x="105383" y="141446"/>
                    <a:pt x="102526" y="142399"/>
                  </a:cubicBezTo>
                  <a:cubicBezTo>
                    <a:pt x="100621" y="108109"/>
                    <a:pt x="95858" y="77629"/>
                    <a:pt x="89191" y="53816"/>
                  </a:cubicBezTo>
                  <a:cubicBezTo>
                    <a:pt x="102526" y="74771"/>
                    <a:pt x="115861" y="105251"/>
                    <a:pt x="120623" y="141446"/>
                  </a:cubicBezTo>
                  <a:close/>
                  <a:moveTo>
                    <a:pt x="55853" y="26194"/>
                  </a:moveTo>
                  <a:cubicBezTo>
                    <a:pt x="65378" y="32861"/>
                    <a:pt x="83476" y="89059"/>
                    <a:pt x="84428" y="178594"/>
                  </a:cubicBezTo>
                  <a:lnTo>
                    <a:pt x="27278" y="178594"/>
                  </a:lnTo>
                  <a:cubicBezTo>
                    <a:pt x="28231" y="89059"/>
                    <a:pt x="46328" y="32861"/>
                    <a:pt x="55853" y="26194"/>
                  </a:cubicBezTo>
                  <a:close/>
                  <a:moveTo>
                    <a:pt x="27278" y="197644"/>
                  </a:moveTo>
                  <a:lnTo>
                    <a:pt x="84428" y="197644"/>
                  </a:lnTo>
                  <a:cubicBezTo>
                    <a:pt x="83476" y="249079"/>
                    <a:pt x="77761" y="300514"/>
                    <a:pt x="69188" y="330994"/>
                  </a:cubicBezTo>
                  <a:lnTo>
                    <a:pt x="43471" y="330994"/>
                  </a:lnTo>
                  <a:cubicBezTo>
                    <a:pt x="33946" y="300514"/>
                    <a:pt x="28231" y="249079"/>
                    <a:pt x="27278" y="197644"/>
                  </a:cubicBezTo>
                  <a:close/>
                  <a:moveTo>
                    <a:pt x="55853" y="439579"/>
                  </a:moveTo>
                  <a:cubicBezTo>
                    <a:pt x="48233" y="422434"/>
                    <a:pt x="36803" y="407194"/>
                    <a:pt x="30136" y="397669"/>
                  </a:cubicBezTo>
                  <a:cubicBezTo>
                    <a:pt x="43471" y="380524"/>
                    <a:pt x="51091" y="360521"/>
                    <a:pt x="53948" y="350044"/>
                  </a:cubicBezTo>
                  <a:lnTo>
                    <a:pt x="57758" y="350044"/>
                  </a:lnTo>
                  <a:cubicBezTo>
                    <a:pt x="60616" y="360521"/>
                    <a:pt x="67283" y="381476"/>
                    <a:pt x="81571" y="397669"/>
                  </a:cubicBezTo>
                  <a:cubicBezTo>
                    <a:pt x="74903" y="407194"/>
                    <a:pt x="63473" y="422434"/>
                    <a:pt x="55853" y="439579"/>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3" name="Gruppieren 234"/>
          <p:cNvGrpSpPr/>
          <p:nvPr/>
        </p:nvGrpSpPr>
        <p:grpSpPr>
          <a:xfrm>
            <a:off x="3527402" y="3596288"/>
            <a:ext cx="348175" cy="348175"/>
            <a:chOff x="2438081" y="3832225"/>
            <a:chExt cx="619125" cy="619125"/>
          </a:xfrm>
        </p:grpSpPr>
        <p:sp>
          <p:nvSpPr>
            <p:cNvPr id="44" name="Freihandform: Form 12">
              <a:extLst>
                <a:ext uri="{FF2B5EF4-FFF2-40B4-BE49-F238E27FC236}">
                  <a16:creationId xmlns:a16="http://schemas.microsoft.com/office/drawing/2014/main" id="{BCDEE0F9-F5A8-432D-BA45-FD339F7A8970}"/>
                </a:ext>
              </a:extLst>
            </p:cNvPr>
            <p:cNvSpPr/>
            <p:nvPr/>
          </p:nvSpPr>
          <p:spPr>
            <a:xfrm>
              <a:off x="2438081" y="3832225"/>
              <a:ext cx="619125" cy="619125"/>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solidFill>
              <a:schemeClr val="lt1">
                <a:alpha val="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5" name="Freihandform: Form 109">
              <a:extLst>
                <a:ext uri="{FF2B5EF4-FFF2-40B4-BE49-F238E27FC236}">
                  <a16:creationId xmlns:a16="http://schemas.microsoft.com/office/drawing/2014/main" id="{9195D6F0-6C19-481D-B559-01A312B163F2}"/>
                </a:ext>
              </a:extLst>
            </p:cNvPr>
            <p:cNvSpPr/>
            <p:nvPr/>
          </p:nvSpPr>
          <p:spPr>
            <a:xfrm>
              <a:off x="2523806" y="4032250"/>
              <a:ext cx="295275" cy="371475"/>
            </a:xfrm>
            <a:custGeom>
              <a:avLst/>
              <a:gdLst>
                <a:gd name="connsiteX0" fmla="*/ 16669 w 295275"/>
                <a:gd name="connsiteY0" fmla="*/ 7144 h 371475"/>
                <a:gd name="connsiteX1" fmla="*/ 7144 w 295275"/>
                <a:gd name="connsiteY1" fmla="*/ 16669 h 371475"/>
                <a:gd name="connsiteX2" fmla="*/ 7144 w 295275"/>
                <a:gd name="connsiteY2" fmla="*/ 359569 h 371475"/>
                <a:gd name="connsiteX3" fmla="*/ 16669 w 295275"/>
                <a:gd name="connsiteY3" fmla="*/ 369094 h 371475"/>
                <a:gd name="connsiteX4" fmla="*/ 283369 w 295275"/>
                <a:gd name="connsiteY4" fmla="*/ 369094 h 371475"/>
                <a:gd name="connsiteX5" fmla="*/ 292894 w 295275"/>
                <a:gd name="connsiteY5" fmla="*/ 359569 h 371475"/>
                <a:gd name="connsiteX6" fmla="*/ 292894 w 295275"/>
                <a:gd name="connsiteY6" fmla="*/ 16669 h 371475"/>
                <a:gd name="connsiteX7" fmla="*/ 283369 w 295275"/>
                <a:gd name="connsiteY7" fmla="*/ 7144 h 371475"/>
                <a:gd name="connsiteX8" fmla="*/ 16669 w 295275"/>
                <a:gd name="connsiteY8" fmla="*/ 7144 h 371475"/>
                <a:gd name="connsiteX9" fmla="*/ 273844 w 295275"/>
                <a:gd name="connsiteY9" fmla="*/ 350044 h 371475"/>
                <a:gd name="connsiteX10" fmla="*/ 26194 w 295275"/>
                <a:gd name="connsiteY10" fmla="*/ 350044 h 371475"/>
                <a:gd name="connsiteX11" fmla="*/ 26194 w 295275"/>
                <a:gd name="connsiteY11" fmla="*/ 26194 h 371475"/>
                <a:gd name="connsiteX12" fmla="*/ 273844 w 295275"/>
                <a:gd name="connsiteY12" fmla="*/ 26194 h 371475"/>
                <a:gd name="connsiteX13" fmla="*/ 273844 w 295275"/>
                <a:gd name="connsiteY13" fmla="*/ 3500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5275" h="371475">
                  <a:moveTo>
                    <a:pt x="16669" y="7144"/>
                  </a:moveTo>
                  <a:cubicBezTo>
                    <a:pt x="10954" y="7144"/>
                    <a:pt x="7144" y="10954"/>
                    <a:pt x="7144" y="16669"/>
                  </a:cubicBezTo>
                  <a:lnTo>
                    <a:pt x="7144" y="359569"/>
                  </a:lnTo>
                  <a:cubicBezTo>
                    <a:pt x="7144" y="365284"/>
                    <a:pt x="10954" y="369094"/>
                    <a:pt x="16669" y="369094"/>
                  </a:cubicBezTo>
                  <a:lnTo>
                    <a:pt x="283369" y="369094"/>
                  </a:lnTo>
                  <a:cubicBezTo>
                    <a:pt x="289084" y="369094"/>
                    <a:pt x="292894" y="365284"/>
                    <a:pt x="292894" y="359569"/>
                  </a:cubicBezTo>
                  <a:lnTo>
                    <a:pt x="292894" y="16669"/>
                  </a:lnTo>
                  <a:cubicBezTo>
                    <a:pt x="292894" y="10954"/>
                    <a:pt x="289084" y="7144"/>
                    <a:pt x="283369" y="7144"/>
                  </a:cubicBezTo>
                  <a:lnTo>
                    <a:pt x="16669" y="7144"/>
                  </a:lnTo>
                  <a:close/>
                  <a:moveTo>
                    <a:pt x="273844" y="350044"/>
                  </a:moveTo>
                  <a:lnTo>
                    <a:pt x="26194" y="350044"/>
                  </a:lnTo>
                  <a:lnTo>
                    <a:pt x="26194" y="26194"/>
                  </a:lnTo>
                  <a:lnTo>
                    <a:pt x="273844" y="26194"/>
                  </a:lnTo>
                  <a:lnTo>
                    <a:pt x="273844" y="350044"/>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6" name="Freihandform: Form 110">
              <a:extLst>
                <a:ext uri="{FF2B5EF4-FFF2-40B4-BE49-F238E27FC236}">
                  <a16:creationId xmlns:a16="http://schemas.microsoft.com/office/drawing/2014/main" id="{37FECC83-F754-4521-B4A4-61A7F0FED41F}"/>
                </a:ext>
              </a:extLst>
            </p:cNvPr>
            <p:cNvSpPr/>
            <p:nvPr/>
          </p:nvSpPr>
          <p:spPr>
            <a:xfrm>
              <a:off x="2600006" y="3956050"/>
              <a:ext cx="295275" cy="371475"/>
            </a:xfrm>
            <a:custGeom>
              <a:avLst/>
              <a:gdLst>
                <a:gd name="connsiteX0" fmla="*/ 245269 w 295275"/>
                <a:gd name="connsiteY0" fmla="*/ 350044 h 371475"/>
                <a:gd name="connsiteX1" fmla="*/ 235744 w 295275"/>
                <a:gd name="connsiteY1" fmla="*/ 359569 h 371475"/>
                <a:gd name="connsiteX2" fmla="*/ 245269 w 295275"/>
                <a:gd name="connsiteY2" fmla="*/ 369094 h 371475"/>
                <a:gd name="connsiteX3" fmla="*/ 283369 w 295275"/>
                <a:gd name="connsiteY3" fmla="*/ 369094 h 371475"/>
                <a:gd name="connsiteX4" fmla="*/ 292894 w 295275"/>
                <a:gd name="connsiteY4" fmla="*/ 359569 h 371475"/>
                <a:gd name="connsiteX5" fmla="*/ 292894 w 295275"/>
                <a:gd name="connsiteY5" fmla="*/ 16669 h 371475"/>
                <a:gd name="connsiteX6" fmla="*/ 283369 w 295275"/>
                <a:gd name="connsiteY6" fmla="*/ 7144 h 371475"/>
                <a:gd name="connsiteX7" fmla="*/ 16669 w 295275"/>
                <a:gd name="connsiteY7" fmla="*/ 7144 h 371475"/>
                <a:gd name="connsiteX8" fmla="*/ 7144 w 295275"/>
                <a:gd name="connsiteY8" fmla="*/ 16669 h 371475"/>
                <a:gd name="connsiteX9" fmla="*/ 7144 w 295275"/>
                <a:gd name="connsiteY9" fmla="*/ 54769 h 371475"/>
                <a:gd name="connsiteX10" fmla="*/ 16669 w 295275"/>
                <a:gd name="connsiteY10" fmla="*/ 64294 h 371475"/>
                <a:gd name="connsiteX11" fmla="*/ 26194 w 295275"/>
                <a:gd name="connsiteY11" fmla="*/ 54769 h 371475"/>
                <a:gd name="connsiteX12" fmla="*/ 26194 w 295275"/>
                <a:gd name="connsiteY12" fmla="*/ 26194 h 371475"/>
                <a:gd name="connsiteX13" fmla="*/ 273844 w 295275"/>
                <a:gd name="connsiteY13" fmla="*/ 26194 h 371475"/>
                <a:gd name="connsiteX14" fmla="*/ 273844 w 295275"/>
                <a:gd name="connsiteY14" fmla="*/ 350044 h 371475"/>
                <a:gd name="connsiteX15" fmla="*/ 245269 w 295275"/>
                <a:gd name="connsiteY15" fmla="*/ 3500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5275" h="371475">
                  <a:moveTo>
                    <a:pt x="245269" y="350044"/>
                  </a:moveTo>
                  <a:cubicBezTo>
                    <a:pt x="239554" y="350044"/>
                    <a:pt x="235744" y="353854"/>
                    <a:pt x="235744" y="359569"/>
                  </a:cubicBezTo>
                  <a:cubicBezTo>
                    <a:pt x="235744" y="365284"/>
                    <a:pt x="239554" y="369094"/>
                    <a:pt x="245269" y="369094"/>
                  </a:cubicBezTo>
                  <a:lnTo>
                    <a:pt x="283369" y="369094"/>
                  </a:lnTo>
                  <a:cubicBezTo>
                    <a:pt x="289084" y="369094"/>
                    <a:pt x="292894" y="365284"/>
                    <a:pt x="292894" y="359569"/>
                  </a:cubicBezTo>
                  <a:lnTo>
                    <a:pt x="292894" y="16669"/>
                  </a:lnTo>
                  <a:cubicBezTo>
                    <a:pt x="292894" y="10954"/>
                    <a:pt x="289084" y="7144"/>
                    <a:pt x="283369" y="7144"/>
                  </a:cubicBezTo>
                  <a:lnTo>
                    <a:pt x="16669" y="7144"/>
                  </a:lnTo>
                  <a:cubicBezTo>
                    <a:pt x="10954" y="7144"/>
                    <a:pt x="7144" y="10954"/>
                    <a:pt x="7144" y="16669"/>
                  </a:cubicBezTo>
                  <a:lnTo>
                    <a:pt x="7144" y="54769"/>
                  </a:lnTo>
                  <a:cubicBezTo>
                    <a:pt x="7144" y="60484"/>
                    <a:pt x="10954" y="64294"/>
                    <a:pt x="16669" y="64294"/>
                  </a:cubicBezTo>
                  <a:cubicBezTo>
                    <a:pt x="22384" y="64294"/>
                    <a:pt x="26194" y="60484"/>
                    <a:pt x="26194" y="54769"/>
                  </a:cubicBezTo>
                  <a:lnTo>
                    <a:pt x="26194" y="26194"/>
                  </a:lnTo>
                  <a:lnTo>
                    <a:pt x="273844" y="26194"/>
                  </a:lnTo>
                  <a:lnTo>
                    <a:pt x="273844" y="350044"/>
                  </a:lnTo>
                  <a:lnTo>
                    <a:pt x="245269" y="350044"/>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7" name="Freihandform: Form 287">
              <a:extLst>
                <a:ext uri="{FF2B5EF4-FFF2-40B4-BE49-F238E27FC236}">
                  <a16:creationId xmlns:a16="http://schemas.microsoft.com/office/drawing/2014/main" id="{5B80D834-EA09-45BF-B6E8-B1E83394F315}"/>
                </a:ext>
              </a:extLst>
            </p:cNvPr>
            <p:cNvSpPr/>
            <p:nvPr/>
          </p:nvSpPr>
          <p:spPr>
            <a:xfrm>
              <a:off x="2676206" y="3879850"/>
              <a:ext cx="295275" cy="371475"/>
            </a:xfrm>
            <a:custGeom>
              <a:avLst/>
              <a:gdLst>
                <a:gd name="connsiteX0" fmla="*/ 245269 w 295275"/>
                <a:gd name="connsiteY0" fmla="*/ 350044 h 371475"/>
                <a:gd name="connsiteX1" fmla="*/ 235744 w 295275"/>
                <a:gd name="connsiteY1" fmla="*/ 359569 h 371475"/>
                <a:gd name="connsiteX2" fmla="*/ 245269 w 295275"/>
                <a:gd name="connsiteY2" fmla="*/ 369094 h 371475"/>
                <a:gd name="connsiteX3" fmla="*/ 283369 w 295275"/>
                <a:gd name="connsiteY3" fmla="*/ 369094 h 371475"/>
                <a:gd name="connsiteX4" fmla="*/ 292894 w 295275"/>
                <a:gd name="connsiteY4" fmla="*/ 359569 h 371475"/>
                <a:gd name="connsiteX5" fmla="*/ 292894 w 295275"/>
                <a:gd name="connsiteY5" fmla="*/ 16669 h 371475"/>
                <a:gd name="connsiteX6" fmla="*/ 283369 w 295275"/>
                <a:gd name="connsiteY6" fmla="*/ 7144 h 371475"/>
                <a:gd name="connsiteX7" fmla="*/ 16669 w 295275"/>
                <a:gd name="connsiteY7" fmla="*/ 7144 h 371475"/>
                <a:gd name="connsiteX8" fmla="*/ 7144 w 295275"/>
                <a:gd name="connsiteY8" fmla="*/ 16669 h 371475"/>
                <a:gd name="connsiteX9" fmla="*/ 7144 w 295275"/>
                <a:gd name="connsiteY9" fmla="*/ 54769 h 371475"/>
                <a:gd name="connsiteX10" fmla="*/ 16669 w 295275"/>
                <a:gd name="connsiteY10" fmla="*/ 64294 h 371475"/>
                <a:gd name="connsiteX11" fmla="*/ 26194 w 295275"/>
                <a:gd name="connsiteY11" fmla="*/ 54769 h 371475"/>
                <a:gd name="connsiteX12" fmla="*/ 26194 w 295275"/>
                <a:gd name="connsiteY12" fmla="*/ 26194 h 371475"/>
                <a:gd name="connsiteX13" fmla="*/ 273844 w 295275"/>
                <a:gd name="connsiteY13" fmla="*/ 26194 h 371475"/>
                <a:gd name="connsiteX14" fmla="*/ 273844 w 295275"/>
                <a:gd name="connsiteY14" fmla="*/ 350044 h 371475"/>
                <a:gd name="connsiteX15" fmla="*/ 245269 w 295275"/>
                <a:gd name="connsiteY15" fmla="*/ 3500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5275" h="371475">
                  <a:moveTo>
                    <a:pt x="245269" y="350044"/>
                  </a:moveTo>
                  <a:cubicBezTo>
                    <a:pt x="239554" y="350044"/>
                    <a:pt x="235744" y="353854"/>
                    <a:pt x="235744" y="359569"/>
                  </a:cubicBezTo>
                  <a:cubicBezTo>
                    <a:pt x="235744" y="365284"/>
                    <a:pt x="239554" y="369094"/>
                    <a:pt x="245269" y="369094"/>
                  </a:cubicBezTo>
                  <a:lnTo>
                    <a:pt x="283369" y="369094"/>
                  </a:lnTo>
                  <a:cubicBezTo>
                    <a:pt x="289084" y="369094"/>
                    <a:pt x="292894" y="365284"/>
                    <a:pt x="292894" y="359569"/>
                  </a:cubicBezTo>
                  <a:lnTo>
                    <a:pt x="292894" y="16669"/>
                  </a:lnTo>
                  <a:cubicBezTo>
                    <a:pt x="292894" y="10954"/>
                    <a:pt x="289084" y="7144"/>
                    <a:pt x="283369" y="7144"/>
                  </a:cubicBezTo>
                  <a:lnTo>
                    <a:pt x="16669" y="7144"/>
                  </a:lnTo>
                  <a:cubicBezTo>
                    <a:pt x="10954" y="7144"/>
                    <a:pt x="7144" y="10954"/>
                    <a:pt x="7144" y="16669"/>
                  </a:cubicBezTo>
                  <a:lnTo>
                    <a:pt x="7144" y="54769"/>
                  </a:lnTo>
                  <a:cubicBezTo>
                    <a:pt x="7144" y="60484"/>
                    <a:pt x="10954" y="64294"/>
                    <a:pt x="16669" y="64294"/>
                  </a:cubicBezTo>
                  <a:cubicBezTo>
                    <a:pt x="22384" y="64294"/>
                    <a:pt x="26194" y="60484"/>
                    <a:pt x="26194" y="54769"/>
                  </a:cubicBezTo>
                  <a:lnTo>
                    <a:pt x="26194" y="26194"/>
                  </a:lnTo>
                  <a:lnTo>
                    <a:pt x="273844" y="26194"/>
                  </a:lnTo>
                  <a:lnTo>
                    <a:pt x="273844" y="350044"/>
                  </a:lnTo>
                  <a:lnTo>
                    <a:pt x="245269" y="350044"/>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8" name="Freihandform: Form 288">
              <a:extLst>
                <a:ext uri="{FF2B5EF4-FFF2-40B4-BE49-F238E27FC236}">
                  <a16:creationId xmlns:a16="http://schemas.microsoft.com/office/drawing/2014/main" id="{AC70ED74-07E7-4168-BEAB-2733A881E502}"/>
                </a:ext>
              </a:extLst>
            </p:cNvPr>
            <p:cNvSpPr/>
            <p:nvPr/>
          </p:nvSpPr>
          <p:spPr>
            <a:xfrm>
              <a:off x="2571431" y="4318000"/>
              <a:ext cx="133350" cy="28575"/>
            </a:xfrm>
            <a:custGeom>
              <a:avLst/>
              <a:gdLst>
                <a:gd name="connsiteX0" fmla="*/ 16669 w 133350"/>
                <a:gd name="connsiteY0" fmla="*/ 26194 h 28575"/>
                <a:gd name="connsiteX1" fmla="*/ 121444 w 133350"/>
                <a:gd name="connsiteY1" fmla="*/ 26194 h 28575"/>
                <a:gd name="connsiteX2" fmla="*/ 130969 w 133350"/>
                <a:gd name="connsiteY2" fmla="*/ 16669 h 28575"/>
                <a:gd name="connsiteX3" fmla="*/ 121444 w 133350"/>
                <a:gd name="connsiteY3" fmla="*/ 7144 h 28575"/>
                <a:gd name="connsiteX4" fmla="*/ 16669 w 133350"/>
                <a:gd name="connsiteY4" fmla="*/ 7144 h 28575"/>
                <a:gd name="connsiteX5" fmla="*/ 7144 w 133350"/>
                <a:gd name="connsiteY5" fmla="*/ 16669 h 28575"/>
                <a:gd name="connsiteX6" fmla="*/ 16669 w 133350"/>
                <a:gd name="connsiteY6" fmla="*/ 2619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350" h="28575">
                  <a:moveTo>
                    <a:pt x="16669" y="26194"/>
                  </a:moveTo>
                  <a:lnTo>
                    <a:pt x="121444" y="26194"/>
                  </a:lnTo>
                  <a:cubicBezTo>
                    <a:pt x="127159" y="26194"/>
                    <a:pt x="130969" y="22384"/>
                    <a:pt x="130969" y="16669"/>
                  </a:cubicBezTo>
                  <a:cubicBezTo>
                    <a:pt x="130969" y="10954"/>
                    <a:pt x="127159" y="7144"/>
                    <a:pt x="121444" y="7144"/>
                  </a:cubicBezTo>
                  <a:lnTo>
                    <a:pt x="16669" y="7144"/>
                  </a:lnTo>
                  <a:cubicBezTo>
                    <a:pt x="10954" y="7144"/>
                    <a:pt x="7144" y="10954"/>
                    <a:pt x="7144" y="16669"/>
                  </a:cubicBezTo>
                  <a:cubicBezTo>
                    <a:pt x="7144" y="22384"/>
                    <a:pt x="10954" y="26194"/>
                    <a:pt x="16669" y="26194"/>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9" name="Freihandform: Form 289">
              <a:extLst>
                <a:ext uri="{FF2B5EF4-FFF2-40B4-BE49-F238E27FC236}">
                  <a16:creationId xmlns:a16="http://schemas.microsoft.com/office/drawing/2014/main" id="{35C6BCD2-F928-423B-BCD3-57F20C8D82A1}"/>
                </a:ext>
              </a:extLst>
            </p:cNvPr>
            <p:cNvSpPr/>
            <p:nvPr/>
          </p:nvSpPr>
          <p:spPr>
            <a:xfrm>
              <a:off x="2571431" y="4089400"/>
              <a:ext cx="200025" cy="28575"/>
            </a:xfrm>
            <a:custGeom>
              <a:avLst/>
              <a:gdLst>
                <a:gd name="connsiteX0" fmla="*/ 16669 w 200025"/>
                <a:gd name="connsiteY0" fmla="*/ 26194 h 28575"/>
                <a:gd name="connsiteX1" fmla="*/ 188119 w 200025"/>
                <a:gd name="connsiteY1" fmla="*/ 26194 h 28575"/>
                <a:gd name="connsiteX2" fmla="*/ 197644 w 200025"/>
                <a:gd name="connsiteY2" fmla="*/ 16669 h 28575"/>
                <a:gd name="connsiteX3" fmla="*/ 188119 w 200025"/>
                <a:gd name="connsiteY3" fmla="*/ 7144 h 28575"/>
                <a:gd name="connsiteX4" fmla="*/ 16669 w 200025"/>
                <a:gd name="connsiteY4" fmla="*/ 7144 h 28575"/>
                <a:gd name="connsiteX5" fmla="*/ 7144 w 200025"/>
                <a:gd name="connsiteY5" fmla="*/ 16669 h 28575"/>
                <a:gd name="connsiteX6" fmla="*/ 16669 w 200025"/>
                <a:gd name="connsiteY6" fmla="*/ 2619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025" h="28575">
                  <a:moveTo>
                    <a:pt x="16669" y="26194"/>
                  </a:moveTo>
                  <a:lnTo>
                    <a:pt x="188119" y="26194"/>
                  </a:lnTo>
                  <a:cubicBezTo>
                    <a:pt x="193834" y="26194"/>
                    <a:pt x="197644" y="22384"/>
                    <a:pt x="197644" y="16669"/>
                  </a:cubicBezTo>
                  <a:cubicBezTo>
                    <a:pt x="197644" y="10954"/>
                    <a:pt x="193834" y="7144"/>
                    <a:pt x="188119" y="7144"/>
                  </a:cubicBezTo>
                  <a:lnTo>
                    <a:pt x="16669" y="7144"/>
                  </a:lnTo>
                  <a:cubicBezTo>
                    <a:pt x="10954" y="7144"/>
                    <a:pt x="7144" y="10954"/>
                    <a:pt x="7144" y="16669"/>
                  </a:cubicBezTo>
                  <a:cubicBezTo>
                    <a:pt x="7144" y="22384"/>
                    <a:pt x="10954" y="26194"/>
                    <a:pt x="16669" y="26194"/>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0" name="Freihandform: Form 290">
              <a:extLst>
                <a:ext uri="{FF2B5EF4-FFF2-40B4-BE49-F238E27FC236}">
                  <a16:creationId xmlns:a16="http://schemas.microsoft.com/office/drawing/2014/main" id="{594EE2F1-2628-4D46-893B-C29FAEAABDD1}"/>
                </a:ext>
              </a:extLst>
            </p:cNvPr>
            <p:cNvSpPr/>
            <p:nvPr/>
          </p:nvSpPr>
          <p:spPr>
            <a:xfrm>
              <a:off x="2571431" y="4146550"/>
              <a:ext cx="200025" cy="28575"/>
            </a:xfrm>
            <a:custGeom>
              <a:avLst/>
              <a:gdLst>
                <a:gd name="connsiteX0" fmla="*/ 16669 w 200025"/>
                <a:gd name="connsiteY0" fmla="*/ 26194 h 28575"/>
                <a:gd name="connsiteX1" fmla="*/ 188119 w 200025"/>
                <a:gd name="connsiteY1" fmla="*/ 26194 h 28575"/>
                <a:gd name="connsiteX2" fmla="*/ 197644 w 200025"/>
                <a:gd name="connsiteY2" fmla="*/ 16669 h 28575"/>
                <a:gd name="connsiteX3" fmla="*/ 188119 w 200025"/>
                <a:gd name="connsiteY3" fmla="*/ 7144 h 28575"/>
                <a:gd name="connsiteX4" fmla="*/ 16669 w 200025"/>
                <a:gd name="connsiteY4" fmla="*/ 7144 h 28575"/>
                <a:gd name="connsiteX5" fmla="*/ 7144 w 200025"/>
                <a:gd name="connsiteY5" fmla="*/ 16669 h 28575"/>
                <a:gd name="connsiteX6" fmla="*/ 16669 w 200025"/>
                <a:gd name="connsiteY6" fmla="*/ 2619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025" h="28575">
                  <a:moveTo>
                    <a:pt x="16669" y="26194"/>
                  </a:moveTo>
                  <a:lnTo>
                    <a:pt x="188119" y="26194"/>
                  </a:lnTo>
                  <a:cubicBezTo>
                    <a:pt x="193834" y="26194"/>
                    <a:pt x="197644" y="22384"/>
                    <a:pt x="197644" y="16669"/>
                  </a:cubicBezTo>
                  <a:cubicBezTo>
                    <a:pt x="197644" y="10954"/>
                    <a:pt x="193834" y="7144"/>
                    <a:pt x="188119" y="7144"/>
                  </a:cubicBezTo>
                  <a:lnTo>
                    <a:pt x="16669" y="7144"/>
                  </a:lnTo>
                  <a:cubicBezTo>
                    <a:pt x="10954" y="7144"/>
                    <a:pt x="7144" y="10954"/>
                    <a:pt x="7144" y="16669"/>
                  </a:cubicBezTo>
                  <a:cubicBezTo>
                    <a:pt x="7144" y="22384"/>
                    <a:pt x="10954" y="26194"/>
                    <a:pt x="16669" y="26194"/>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1" name="Freihandform: Form 291">
              <a:extLst>
                <a:ext uri="{FF2B5EF4-FFF2-40B4-BE49-F238E27FC236}">
                  <a16:creationId xmlns:a16="http://schemas.microsoft.com/office/drawing/2014/main" id="{D962707A-1907-4BE4-A058-D391A13530C1}"/>
                </a:ext>
              </a:extLst>
            </p:cNvPr>
            <p:cNvSpPr/>
            <p:nvPr/>
          </p:nvSpPr>
          <p:spPr>
            <a:xfrm>
              <a:off x="2571431" y="4203700"/>
              <a:ext cx="200025" cy="28575"/>
            </a:xfrm>
            <a:custGeom>
              <a:avLst/>
              <a:gdLst>
                <a:gd name="connsiteX0" fmla="*/ 16669 w 200025"/>
                <a:gd name="connsiteY0" fmla="*/ 26194 h 28575"/>
                <a:gd name="connsiteX1" fmla="*/ 188119 w 200025"/>
                <a:gd name="connsiteY1" fmla="*/ 26194 h 28575"/>
                <a:gd name="connsiteX2" fmla="*/ 197644 w 200025"/>
                <a:gd name="connsiteY2" fmla="*/ 16669 h 28575"/>
                <a:gd name="connsiteX3" fmla="*/ 188119 w 200025"/>
                <a:gd name="connsiteY3" fmla="*/ 7144 h 28575"/>
                <a:gd name="connsiteX4" fmla="*/ 16669 w 200025"/>
                <a:gd name="connsiteY4" fmla="*/ 7144 h 28575"/>
                <a:gd name="connsiteX5" fmla="*/ 7144 w 200025"/>
                <a:gd name="connsiteY5" fmla="*/ 16669 h 28575"/>
                <a:gd name="connsiteX6" fmla="*/ 16669 w 200025"/>
                <a:gd name="connsiteY6" fmla="*/ 2619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025" h="28575">
                  <a:moveTo>
                    <a:pt x="16669" y="26194"/>
                  </a:moveTo>
                  <a:lnTo>
                    <a:pt x="188119" y="26194"/>
                  </a:lnTo>
                  <a:cubicBezTo>
                    <a:pt x="193834" y="26194"/>
                    <a:pt x="197644" y="22384"/>
                    <a:pt x="197644" y="16669"/>
                  </a:cubicBezTo>
                  <a:cubicBezTo>
                    <a:pt x="197644" y="10954"/>
                    <a:pt x="193834" y="7144"/>
                    <a:pt x="188119" y="7144"/>
                  </a:cubicBezTo>
                  <a:lnTo>
                    <a:pt x="16669" y="7144"/>
                  </a:lnTo>
                  <a:cubicBezTo>
                    <a:pt x="10954" y="7144"/>
                    <a:pt x="7144" y="10954"/>
                    <a:pt x="7144" y="16669"/>
                  </a:cubicBezTo>
                  <a:cubicBezTo>
                    <a:pt x="7144" y="22384"/>
                    <a:pt x="10954" y="26194"/>
                    <a:pt x="16669" y="26194"/>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2" name="Freihandform: Form 292">
              <a:extLst>
                <a:ext uri="{FF2B5EF4-FFF2-40B4-BE49-F238E27FC236}">
                  <a16:creationId xmlns:a16="http://schemas.microsoft.com/office/drawing/2014/main" id="{354043D2-0E5C-416F-9F8F-30390774D464}"/>
                </a:ext>
              </a:extLst>
            </p:cNvPr>
            <p:cNvSpPr/>
            <p:nvPr/>
          </p:nvSpPr>
          <p:spPr>
            <a:xfrm>
              <a:off x="2571431" y="4260850"/>
              <a:ext cx="200025" cy="28575"/>
            </a:xfrm>
            <a:custGeom>
              <a:avLst/>
              <a:gdLst>
                <a:gd name="connsiteX0" fmla="*/ 16669 w 200025"/>
                <a:gd name="connsiteY0" fmla="*/ 26194 h 28575"/>
                <a:gd name="connsiteX1" fmla="*/ 188119 w 200025"/>
                <a:gd name="connsiteY1" fmla="*/ 26194 h 28575"/>
                <a:gd name="connsiteX2" fmla="*/ 197644 w 200025"/>
                <a:gd name="connsiteY2" fmla="*/ 16669 h 28575"/>
                <a:gd name="connsiteX3" fmla="*/ 188119 w 200025"/>
                <a:gd name="connsiteY3" fmla="*/ 7144 h 28575"/>
                <a:gd name="connsiteX4" fmla="*/ 16669 w 200025"/>
                <a:gd name="connsiteY4" fmla="*/ 7144 h 28575"/>
                <a:gd name="connsiteX5" fmla="*/ 7144 w 200025"/>
                <a:gd name="connsiteY5" fmla="*/ 16669 h 28575"/>
                <a:gd name="connsiteX6" fmla="*/ 16669 w 200025"/>
                <a:gd name="connsiteY6" fmla="*/ 2619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025" h="28575">
                  <a:moveTo>
                    <a:pt x="16669" y="26194"/>
                  </a:moveTo>
                  <a:lnTo>
                    <a:pt x="188119" y="26194"/>
                  </a:lnTo>
                  <a:cubicBezTo>
                    <a:pt x="193834" y="26194"/>
                    <a:pt x="197644" y="22384"/>
                    <a:pt x="197644" y="16669"/>
                  </a:cubicBezTo>
                  <a:cubicBezTo>
                    <a:pt x="197644" y="10954"/>
                    <a:pt x="193834" y="7144"/>
                    <a:pt x="188119" y="7144"/>
                  </a:cubicBezTo>
                  <a:lnTo>
                    <a:pt x="16669" y="7144"/>
                  </a:lnTo>
                  <a:cubicBezTo>
                    <a:pt x="10954" y="7144"/>
                    <a:pt x="7144" y="10954"/>
                    <a:pt x="7144" y="16669"/>
                  </a:cubicBezTo>
                  <a:cubicBezTo>
                    <a:pt x="7144" y="22384"/>
                    <a:pt x="10954" y="26194"/>
                    <a:pt x="16669" y="26194"/>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3" name="Gruppieren 58469"/>
          <p:cNvGrpSpPr/>
          <p:nvPr/>
        </p:nvGrpSpPr>
        <p:grpSpPr>
          <a:xfrm>
            <a:off x="4355338" y="3547811"/>
            <a:ext cx="396652" cy="396652"/>
            <a:chOff x="3896675" y="3832225"/>
            <a:chExt cx="619125" cy="619125"/>
          </a:xfrm>
        </p:grpSpPr>
        <p:sp>
          <p:nvSpPr>
            <p:cNvPr id="54" name="Freihandform: Form 133">
              <a:extLst>
                <a:ext uri="{FF2B5EF4-FFF2-40B4-BE49-F238E27FC236}">
                  <a16:creationId xmlns:a16="http://schemas.microsoft.com/office/drawing/2014/main" id="{66408CC1-9873-46C9-BE11-C9B208B57781}"/>
                </a:ext>
              </a:extLst>
            </p:cNvPr>
            <p:cNvSpPr/>
            <p:nvPr/>
          </p:nvSpPr>
          <p:spPr>
            <a:xfrm>
              <a:off x="3896675" y="3832225"/>
              <a:ext cx="619125" cy="619125"/>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solidFill>
              <a:schemeClr val="lt1">
                <a:alpha val="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5" name="Freihandform: Form 162">
              <a:extLst>
                <a:ext uri="{FF2B5EF4-FFF2-40B4-BE49-F238E27FC236}">
                  <a16:creationId xmlns:a16="http://schemas.microsoft.com/office/drawing/2014/main" id="{5BBCC6E8-3FB8-40D8-81DA-DCCA552D1A96}"/>
                </a:ext>
              </a:extLst>
            </p:cNvPr>
            <p:cNvSpPr/>
            <p:nvPr/>
          </p:nvSpPr>
          <p:spPr>
            <a:xfrm>
              <a:off x="4077855" y="3974624"/>
              <a:ext cx="276225" cy="104775"/>
            </a:xfrm>
            <a:custGeom>
              <a:avLst/>
              <a:gdLst>
                <a:gd name="connsiteX0" fmla="*/ 268876 w 276225"/>
                <a:gd name="connsiteY0" fmla="*/ 84773 h 104775"/>
                <a:gd name="connsiteX1" fmla="*/ 145051 w 276225"/>
                <a:gd name="connsiteY1" fmla="*/ 8573 h 104775"/>
                <a:gd name="connsiteX2" fmla="*/ 135526 w 276225"/>
                <a:gd name="connsiteY2" fmla="*/ 8573 h 104775"/>
                <a:gd name="connsiteX3" fmla="*/ 11701 w 276225"/>
                <a:gd name="connsiteY3" fmla="*/ 84773 h 104775"/>
                <a:gd name="connsiteX4" fmla="*/ 7891 w 276225"/>
                <a:gd name="connsiteY4" fmla="*/ 95250 h 104775"/>
                <a:gd name="connsiteX5" fmla="*/ 17416 w 276225"/>
                <a:gd name="connsiteY5" fmla="*/ 101917 h 104775"/>
                <a:gd name="connsiteX6" fmla="*/ 265066 w 276225"/>
                <a:gd name="connsiteY6" fmla="*/ 101917 h 104775"/>
                <a:gd name="connsiteX7" fmla="*/ 274591 w 276225"/>
                <a:gd name="connsiteY7" fmla="*/ 95250 h 104775"/>
                <a:gd name="connsiteX8" fmla="*/ 268876 w 276225"/>
                <a:gd name="connsiteY8" fmla="*/ 84773 h 104775"/>
                <a:gd name="connsiteX9" fmla="*/ 49801 w 276225"/>
                <a:gd name="connsiteY9" fmla="*/ 83820 h 104775"/>
                <a:gd name="connsiteX10" fmla="*/ 140289 w 276225"/>
                <a:gd name="connsiteY10" fmla="*/ 28575 h 104775"/>
                <a:gd name="connsiteX11" fmla="*/ 230776 w 276225"/>
                <a:gd name="connsiteY11" fmla="*/ 83820 h 104775"/>
                <a:gd name="connsiteX12" fmla="*/ 49801 w 276225"/>
                <a:gd name="connsiteY12" fmla="*/ 8382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6225" h="104775">
                  <a:moveTo>
                    <a:pt x="268876" y="84773"/>
                  </a:moveTo>
                  <a:lnTo>
                    <a:pt x="145051" y="8573"/>
                  </a:lnTo>
                  <a:cubicBezTo>
                    <a:pt x="142194" y="6667"/>
                    <a:pt x="138383" y="6667"/>
                    <a:pt x="135526" y="8573"/>
                  </a:cubicBezTo>
                  <a:lnTo>
                    <a:pt x="11701" y="84773"/>
                  </a:lnTo>
                  <a:cubicBezTo>
                    <a:pt x="7891" y="86678"/>
                    <a:pt x="5986" y="91440"/>
                    <a:pt x="7891" y="95250"/>
                  </a:cubicBezTo>
                  <a:cubicBezTo>
                    <a:pt x="8844" y="99060"/>
                    <a:pt x="12654" y="101917"/>
                    <a:pt x="17416" y="101917"/>
                  </a:cubicBezTo>
                  <a:lnTo>
                    <a:pt x="265066" y="101917"/>
                  </a:lnTo>
                  <a:cubicBezTo>
                    <a:pt x="268876" y="101917"/>
                    <a:pt x="272686" y="99060"/>
                    <a:pt x="274591" y="95250"/>
                  </a:cubicBezTo>
                  <a:cubicBezTo>
                    <a:pt x="274591" y="91440"/>
                    <a:pt x="272686" y="87630"/>
                    <a:pt x="268876" y="84773"/>
                  </a:cubicBezTo>
                  <a:close/>
                  <a:moveTo>
                    <a:pt x="49801" y="83820"/>
                  </a:moveTo>
                  <a:lnTo>
                    <a:pt x="140289" y="28575"/>
                  </a:lnTo>
                  <a:lnTo>
                    <a:pt x="230776" y="83820"/>
                  </a:lnTo>
                  <a:lnTo>
                    <a:pt x="49801" y="83820"/>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6" name="Freihandform: Form 163">
              <a:extLst>
                <a:ext uri="{FF2B5EF4-FFF2-40B4-BE49-F238E27FC236}">
                  <a16:creationId xmlns:a16="http://schemas.microsoft.com/office/drawing/2014/main" id="{EA3BC094-AC70-439E-A818-545223C3F0F6}"/>
                </a:ext>
              </a:extLst>
            </p:cNvPr>
            <p:cNvSpPr/>
            <p:nvPr/>
          </p:nvSpPr>
          <p:spPr>
            <a:xfrm>
              <a:off x="4115750" y="4089400"/>
              <a:ext cx="28575" cy="104775"/>
            </a:xfrm>
            <a:custGeom>
              <a:avLst/>
              <a:gdLst>
                <a:gd name="connsiteX0" fmla="*/ 26194 w 28575"/>
                <a:gd name="connsiteY0" fmla="*/ 92869 h 104775"/>
                <a:gd name="connsiteX1" fmla="*/ 26194 w 28575"/>
                <a:gd name="connsiteY1" fmla="*/ 16669 h 104775"/>
                <a:gd name="connsiteX2" fmla="*/ 16669 w 28575"/>
                <a:gd name="connsiteY2" fmla="*/ 7144 h 104775"/>
                <a:gd name="connsiteX3" fmla="*/ 7144 w 28575"/>
                <a:gd name="connsiteY3" fmla="*/ 16669 h 104775"/>
                <a:gd name="connsiteX4" fmla="*/ 7144 w 28575"/>
                <a:gd name="connsiteY4" fmla="*/ 92869 h 104775"/>
                <a:gd name="connsiteX5" fmla="*/ 16669 w 28575"/>
                <a:gd name="connsiteY5" fmla="*/ 102394 h 104775"/>
                <a:gd name="connsiteX6" fmla="*/ 26194 w 28575"/>
                <a:gd name="connsiteY6" fmla="*/ 9286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 h="104775">
                  <a:moveTo>
                    <a:pt x="26194" y="92869"/>
                  </a:moveTo>
                  <a:lnTo>
                    <a:pt x="26194" y="16669"/>
                  </a:lnTo>
                  <a:cubicBezTo>
                    <a:pt x="26194" y="10954"/>
                    <a:pt x="22384" y="7144"/>
                    <a:pt x="16669" y="7144"/>
                  </a:cubicBezTo>
                  <a:cubicBezTo>
                    <a:pt x="10954" y="7144"/>
                    <a:pt x="7144" y="10954"/>
                    <a:pt x="7144" y="16669"/>
                  </a:cubicBezTo>
                  <a:lnTo>
                    <a:pt x="7144" y="92869"/>
                  </a:lnTo>
                  <a:cubicBezTo>
                    <a:pt x="7144" y="98584"/>
                    <a:pt x="10954" y="102394"/>
                    <a:pt x="16669" y="102394"/>
                  </a:cubicBezTo>
                  <a:cubicBezTo>
                    <a:pt x="22384" y="102394"/>
                    <a:pt x="26194" y="98584"/>
                    <a:pt x="26194" y="92869"/>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7" name="Freihandform: Form 164">
              <a:extLst>
                <a:ext uri="{FF2B5EF4-FFF2-40B4-BE49-F238E27FC236}">
                  <a16:creationId xmlns:a16="http://schemas.microsoft.com/office/drawing/2014/main" id="{6C25BEA8-41A8-4F75-AE9C-EB4E7088A870}"/>
                </a:ext>
              </a:extLst>
            </p:cNvPr>
            <p:cNvSpPr/>
            <p:nvPr/>
          </p:nvSpPr>
          <p:spPr>
            <a:xfrm>
              <a:off x="4201475" y="4089400"/>
              <a:ext cx="28575" cy="104775"/>
            </a:xfrm>
            <a:custGeom>
              <a:avLst/>
              <a:gdLst>
                <a:gd name="connsiteX0" fmla="*/ 26194 w 28575"/>
                <a:gd name="connsiteY0" fmla="*/ 92869 h 104775"/>
                <a:gd name="connsiteX1" fmla="*/ 26194 w 28575"/>
                <a:gd name="connsiteY1" fmla="*/ 16669 h 104775"/>
                <a:gd name="connsiteX2" fmla="*/ 16669 w 28575"/>
                <a:gd name="connsiteY2" fmla="*/ 7144 h 104775"/>
                <a:gd name="connsiteX3" fmla="*/ 7144 w 28575"/>
                <a:gd name="connsiteY3" fmla="*/ 16669 h 104775"/>
                <a:gd name="connsiteX4" fmla="*/ 7144 w 28575"/>
                <a:gd name="connsiteY4" fmla="*/ 92869 h 104775"/>
                <a:gd name="connsiteX5" fmla="*/ 16669 w 28575"/>
                <a:gd name="connsiteY5" fmla="*/ 102394 h 104775"/>
                <a:gd name="connsiteX6" fmla="*/ 26194 w 28575"/>
                <a:gd name="connsiteY6" fmla="*/ 9286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 h="104775">
                  <a:moveTo>
                    <a:pt x="26194" y="92869"/>
                  </a:moveTo>
                  <a:lnTo>
                    <a:pt x="26194" y="16669"/>
                  </a:lnTo>
                  <a:cubicBezTo>
                    <a:pt x="26194" y="10954"/>
                    <a:pt x="22384" y="7144"/>
                    <a:pt x="16669" y="7144"/>
                  </a:cubicBezTo>
                  <a:cubicBezTo>
                    <a:pt x="10954" y="7144"/>
                    <a:pt x="7144" y="10954"/>
                    <a:pt x="7144" y="16669"/>
                  </a:cubicBezTo>
                  <a:lnTo>
                    <a:pt x="7144" y="92869"/>
                  </a:lnTo>
                  <a:cubicBezTo>
                    <a:pt x="7144" y="98584"/>
                    <a:pt x="10954" y="102394"/>
                    <a:pt x="16669" y="102394"/>
                  </a:cubicBezTo>
                  <a:cubicBezTo>
                    <a:pt x="22384" y="102394"/>
                    <a:pt x="26194" y="98584"/>
                    <a:pt x="26194" y="92869"/>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8" name="Freihandform: Form 165">
              <a:extLst>
                <a:ext uri="{FF2B5EF4-FFF2-40B4-BE49-F238E27FC236}">
                  <a16:creationId xmlns:a16="http://schemas.microsoft.com/office/drawing/2014/main" id="{19B3A967-5B79-44A2-BDE0-F149D4478110}"/>
                </a:ext>
              </a:extLst>
            </p:cNvPr>
            <p:cNvSpPr/>
            <p:nvPr/>
          </p:nvSpPr>
          <p:spPr>
            <a:xfrm>
              <a:off x="4287200" y="4089400"/>
              <a:ext cx="28575" cy="104775"/>
            </a:xfrm>
            <a:custGeom>
              <a:avLst/>
              <a:gdLst>
                <a:gd name="connsiteX0" fmla="*/ 26194 w 28575"/>
                <a:gd name="connsiteY0" fmla="*/ 92869 h 104775"/>
                <a:gd name="connsiteX1" fmla="*/ 26194 w 28575"/>
                <a:gd name="connsiteY1" fmla="*/ 16669 h 104775"/>
                <a:gd name="connsiteX2" fmla="*/ 16669 w 28575"/>
                <a:gd name="connsiteY2" fmla="*/ 7144 h 104775"/>
                <a:gd name="connsiteX3" fmla="*/ 7144 w 28575"/>
                <a:gd name="connsiteY3" fmla="*/ 16669 h 104775"/>
                <a:gd name="connsiteX4" fmla="*/ 7144 w 28575"/>
                <a:gd name="connsiteY4" fmla="*/ 92869 h 104775"/>
                <a:gd name="connsiteX5" fmla="*/ 16669 w 28575"/>
                <a:gd name="connsiteY5" fmla="*/ 102394 h 104775"/>
                <a:gd name="connsiteX6" fmla="*/ 26194 w 28575"/>
                <a:gd name="connsiteY6" fmla="*/ 9286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 h="104775">
                  <a:moveTo>
                    <a:pt x="26194" y="92869"/>
                  </a:moveTo>
                  <a:lnTo>
                    <a:pt x="26194" y="16669"/>
                  </a:lnTo>
                  <a:cubicBezTo>
                    <a:pt x="26194" y="10954"/>
                    <a:pt x="22384" y="7144"/>
                    <a:pt x="16669" y="7144"/>
                  </a:cubicBezTo>
                  <a:cubicBezTo>
                    <a:pt x="10954" y="7144"/>
                    <a:pt x="7144" y="10954"/>
                    <a:pt x="7144" y="16669"/>
                  </a:cubicBezTo>
                  <a:lnTo>
                    <a:pt x="7144" y="92869"/>
                  </a:lnTo>
                  <a:cubicBezTo>
                    <a:pt x="7144" y="98584"/>
                    <a:pt x="10954" y="102394"/>
                    <a:pt x="16669" y="102394"/>
                  </a:cubicBezTo>
                  <a:cubicBezTo>
                    <a:pt x="22384" y="102394"/>
                    <a:pt x="26194" y="98584"/>
                    <a:pt x="26194" y="92869"/>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9" name="Freihandform: Form 166">
              <a:extLst>
                <a:ext uri="{FF2B5EF4-FFF2-40B4-BE49-F238E27FC236}">
                  <a16:creationId xmlns:a16="http://schemas.microsoft.com/office/drawing/2014/main" id="{62E766C1-4B24-47BE-A82F-F334FEAFE171}"/>
                </a:ext>
              </a:extLst>
            </p:cNvPr>
            <p:cNvSpPr/>
            <p:nvPr/>
          </p:nvSpPr>
          <p:spPr>
            <a:xfrm>
              <a:off x="4096700" y="4203700"/>
              <a:ext cx="238125" cy="28575"/>
            </a:xfrm>
            <a:custGeom>
              <a:avLst/>
              <a:gdLst>
                <a:gd name="connsiteX0" fmla="*/ 7144 w 238125"/>
                <a:gd name="connsiteY0" fmla="*/ 16669 h 28575"/>
                <a:gd name="connsiteX1" fmla="*/ 16669 w 238125"/>
                <a:gd name="connsiteY1" fmla="*/ 26194 h 28575"/>
                <a:gd name="connsiteX2" fmla="*/ 226219 w 238125"/>
                <a:gd name="connsiteY2" fmla="*/ 26194 h 28575"/>
                <a:gd name="connsiteX3" fmla="*/ 235744 w 238125"/>
                <a:gd name="connsiteY3" fmla="*/ 16669 h 28575"/>
                <a:gd name="connsiteX4" fmla="*/ 226219 w 238125"/>
                <a:gd name="connsiteY4" fmla="*/ 7144 h 28575"/>
                <a:gd name="connsiteX5" fmla="*/ 16669 w 238125"/>
                <a:gd name="connsiteY5" fmla="*/ 7144 h 28575"/>
                <a:gd name="connsiteX6" fmla="*/ 7144 w 238125"/>
                <a:gd name="connsiteY6" fmla="*/ 16669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125" h="28575">
                  <a:moveTo>
                    <a:pt x="7144" y="16669"/>
                  </a:moveTo>
                  <a:cubicBezTo>
                    <a:pt x="7144" y="22384"/>
                    <a:pt x="10954" y="26194"/>
                    <a:pt x="16669" y="26194"/>
                  </a:cubicBezTo>
                  <a:lnTo>
                    <a:pt x="226219" y="26194"/>
                  </a:lnTo>
                  <a:cubicBezTo>
                    <a:pt x="231934" y="26194"/>
                    <a:pt x="235744" y="22384"/>
                    <a:pt x="235744" y="16669"/>
                  </a:cubicBezTo>
                  <a:cubicBezTo>
                    <a:pt x="235744" y="10954"/>
                    <a:pt x="231934" y="7144"/>
                    <a:pt x="226219" y="7144"/>
                  </a:cubicBezTo>
                  <a:lnTo>
                    <a:pt x="16669" y="7144"/>
                  </a:lnTo>
                  <a:cubicBezTo>
                    <a:pt x="10954" y="7144"/>
                    <a:pt x="7144" y="10954"/>
                    <a:pt x="7144" y="16669"/>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0" name="Freihandform: Form 167">
              <a:extLst>
                <a:ext uri="{FF2B5EF4-FFF2-40B4-BE49-F238E27FC236}">
                  <a16:creationId xmlns:a16="http://schemas.microsoft.com/office/drawing/2014/main" id="{15A25C1C-150A-4C36-A916-7774C44FF2A8}"/>
                </a:ext>
              </a:extLst>
            </p:cNvPr>
            <p:cNvSpPr/>
            <p:nvPr/>
          </p:nvSpPr>
          <p:spPr>
            <a:xfrm>
              <a:off x="4077650" y="4241800"/>
              <a:ext cx="276225" cy="28575"/>
            </a:xfrm>
            <a:custGeom>
              <a:avLst/>
              <a:gdLst>
                <a:gd name="connsiteX0" fmla="*/ 7144 w 276225"/>
                <a:gd name="connsiteY0" fmla="*/ 16669 h 28575"/>
                <a:gd name="connsiteX1" fmla="*/ 16669 w 276225"/>
                <a:gd name="connsiteY1" fmla="*/ 26194 h 28575"/>
                <a:gd name="connsiteX2" fmla="*/ 264319 w 276225"/>
                <a:gd name="connsiteY2" fmla="*/ 26194 h 28575"/>
                <a:gd name="connsiteX3" fmla="*/ 273844 w 276225"/>
                <a:gd name="connsiteY3" fmla="*/ 16669 h 28575"/>
                <a:gd name="connsiteX4" fmla="*/ 264319 w 276225"/>
                <a:gd name="connsiteY4" fmla="*/ 7144 h 28575"/>
                <a:gd name="connsiteX5" fmla="*/ 16669 w 276225"/>
                <a:gd name="connsiteY5" fmla="*/ 7144 h 28575"/>
                <a:gd name="connsiteX6" fmla="*/ 7144 w 276225"/>
                <a:gd name="connsiteY6" fmla="*/ 16669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225" h="28575">
                  <a:moveTo>
                    <a:pt x="7144" y="16669"/>
                  </a:moveTo>
                  <a:cubicBezTo>
                    <a:pt x="7144" y="22384"/>
                    <a:pt x="10954" y="26194"/>
                    <a:pt x="16669" y="26194"/>
                  </a:cubicBezTo>
                  <a:lnTo>
                    <a:pt x="264319" y="26194"/>
                  </a:lnTo>
                  <a:cubicBezTo>
                    <a:pt x="270034" y="26194"/>
                    <a:pt x="273844" y="22384"/>
                    <a:pt x="273844" y="16669"/>
                  </a:cubicBezTo>
                  <a:cubicBezTo>
                    <a:pt x="273844" y="10954"/>
                    <a:pt x="270034" y="7144"/>
                    <a:pt x="264319" y="7144"/>
                  </a:cubicBezTo>
                  <a:lnTo>
                    <a:pt x="16669" y="7144"/>
                  </a:lnTo>
                  <a:cubicBezTo>
                    <a:pt x="10954" y="7144"/>
                    <a:pt x="7144" y="10954"/>
                    <a:pt x="7144" y="16669"/>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1" name="Freihandform: Form 213">
              <a:extLst>
                <a:ext uri="{FF2B5EF4-FFF2-40B4-BE49-F238E27FC236}">
                  <a16:creationId xmlns:a16="http://schemas.microsoft.com/office/drawing/2014/main" id="{A2AA72B7-DFC8-4300-94A8-6F00A3FFC7D7}"/>
                </a:ext>
              </a:extLst>
            </p:cNvPr>
            <p:cNvSpPr/>
            <p:nvPr/>
          </p:nvSpPr>
          <p:spPr>
            <a:xfrm>
              <a:off x="4053129" y="4250373"/>
              <a:ext cx="419100" cy="171450"/>
            </a:xfrm>
            <a:custGeom>
              <a:avLst/>
              <a:gdLst>
                <a:gd name="connsiteX0" fmla="*/ 165015 w 419100"/>
                <a:gd name="connsiteY0" fmla="*/ 170021 h 171450"/>
                <a:gd name="connsiteX1" fmla="*/ 387900 w 419100"/>
                <a:gd name="connsiteY1" fmla="*/ 40481 h 171450"/>
                <a:gd name="connsiteX2" fmla="*/ 397425 w 419100"/>
                <a:gd name="connsiteY2" fmla="*/ 70009 h 171450"/>
                <a:gd name="connsiteX3" fmla="*/ 406950 w 419100"/>
                <a:gd name="connsiteY3" fmla="*/ 76676 h 171450"/>
                <a:gd name="connsiteX4" fmla="*/ 409808 w 419100"/>
                <a:gd name="connsiteY4" fmla="*/ 76676 h 171450"/>
                <a:gd name="connsiteX5" fmla="*/ 415523 w 419100"/>
                <a:gd name="connsiteY5" fmla="*/ 64294 h 171450"/>
                <a:gd name="connsiteX6" fmla="*/ 398378 w 419100"/>
                <a:gd name="connsiteY6" fmla="*/ 12859 h 171450"/>
                <a:gd name="connsiteX7" fmla="*/ 398378 w 419100"/>
                <a:gd name="connsiteY7" fmla="*/ 12859 h 171450"/>
                <a:gd name="connsiteX8" fmla="*/ 398378 w 419100"/>
                <a:gd name="connsiteY8" fmla="*/ 12859 h 171450"/>
                <a:gd name="connsiteX9" fmla="*/ 389805 w 419100"/>
                <a:gd name="connsiteY9" fmla="*/ 7144 h 171450"/>
                <a:gd name="connsiteX10" fmla="*/ 388853 w 419100"/>
                <a:gd name="connsiteY10" fmla="*/ 7144 h 171450"/>
                <a:gd name="connsiteX11" fmla="*/ 385995 w 419100"/>
                <a:gd name="connsiteY11" fmla="*/ 7144 h 171450"/>
                <a:gd name="connsiteX12" fmla="*/ 334560 w 419100"/>
                <a:gd name="connsiteY12" fmla="*/ 23336 h 171450"/>
                <a:gd name="connsiteX13" fmla="*/ 328845 w 419100"/>
                <a:gd name="connsiteY13" fmla="*/ 35719 h 171450"/>
                <a:gd name="connsiteX14" fmla="*/ 341228 w 419100"/>
                <a:gd name="connsiteY14" fmla="*/ 41434 h 171450"/>
                <a:gd name="connsiteX15" fmla="*/ 370755 w 419100"/>
                <a:gd name="connsiteY15" fmla="*/ 31909 h 171450"/>
                <a:gd name="connsiteX16" fmla="*/ 165015 w 419100"/>
                <a:gd name="connsiteY16" fmla="*/ 150971 h 171450"/>
                <a:gd name="connsiteX17" fmla="*/ 22140 w 419100"/>
                <a:gd name="connsiteY17" fmla="*/ 103346 h 171450"/>
                <a:gd name="connsiteX18" fmla="*/ 8805 w 419100"/>
                <a:gd name="connsiteY18" fmla="*/ 105251 h 171450"/>
                <a:gd name="connsiteX19" fmla="*/ 10710 w 419100"/>
                <a:gd name="connsiteY19" fmla="*/ 118586 h 171450"/>
                <a:gd name="connsiteX20" fmla="*/ 165015 w 419100"/>
                <a:gd name="connsiteY20" fmla="*/ 170021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9100" h="171450">
                  <a:moveTo>
                    <a:pt x="165015" y="170021"/>
                  </a:moveTo>
                  <a:cubicBezTo>
                    <a:pt x="257408" y="170021"/>
                    <a:pt x="343133" y="119539"/>
                    <a:pt x="387900" y="40481"/>
                  </a:cubicBezTo>
                  <a:lnTo>
                    <a:pt x="397425" y="70009"/>
                  </a:lnTo>
                  <a:cubicBezTo>
                    <a:pt x="398378" y="73819"/>
                    <a:pt x="402188" y="76676"/>
                    <a:pt x="406950" y="76676"/>
                  </a:cubicBezTo>
                  <a:cubicBezTo>
                    <a:pt x="407903" y="76676"/>
                    <a:pt x="408855" y="76676"/>
                    <a:pt x="409808" y="76676"/>
                  </a:cubicBezTo>
                  <a:cubicBezTo>
                    <a:pt x="414570" y="74771"/>
                    <a:pt x="417428" y="70009"/>
                    <a:pt x="415523" y="64294"/>
                  </a:cubicBezTo>
                  <a:lnTo>
                    <a:pt x="398378" y="12859"/>
                  </a:lnTo>
                  <a:cubicBezTo>
                    <a:pt x="398378" y="12859"/>
                    <a:pt x="398378" y="12859"/>
                    <a:pt x="398378" y="12859"/>
                  </a:cubicBezTo>
                  <a:cubicBezTo>
                    <a:pt x="398378" y="12859"/>
                    <a:pt x="398378" y="12859"/>
                    <a:pt x="398378" y="12859"/>
                  </a:cubicBezTo>
                  <a:cubicBezTo>
                    <a:pt x="396473" y="9049"/>
                    <a:pt x="393615" y="7144"/>
                    <a:pt x="389805" y="7144"/>
                  </a:cubicBezTo>
                  <a:cubicBezTo>
                    <a:pt x="389805" y="7144"/>
                    <a:pt x="389805" y="7144"/>
                    <a:pt x="388853" y="7144"/>
                  </a:cubicBezTo>
                  <a:cubicBezTo>
                    <a:pt x="387900" y="7144"/>
                    <a:pt x="386948" y="7144"/>
                    <a:pt x="385995" y="7144"/>
                  </a:cubicBezTo>
                  <a:lnTo>
                    <a:pt x="334560" y="23336"/>
                  </a:lnTo>
                  <a:cubicBezTo>
                    <a:pt x="329798" y="25241"/>
                    <a:pt x="326940" y="30004"/>
                    <a:pt x="328845" y="35719"/>
                  </a:cubicBezTo>
                  <a:cubicBezTo>
                    <a:pt x="330750" y="40481"/>
                    <a:pt x="335513" y="43339"/>
                    <a:pt x="341228" y="41434"/>
                  </a:cubicBezTo>
                  <a:lnTo>
                    <a:pt x="370755" y="31909"/>
                  </a:lnTo>
                  <a:cubicBezTo>
                    <a:pt x="328845" y="104299"/>
                    <a:pt x="249788" y="150971"/>
                    <a:pt x="165015" y="150971"/>
                  </a:cubicBezTo>
                  <a:cubicBezTo>
                    <a:pt x="113580" y="150971"/>
                    <a:pt x="64050" y="134779"/>
                    <a:pt x="22140" y="103346"/>
                  </a:cubicBezTo>
                  <a:cubicBezTo>
                    <a:pt x="18330" y="100489"/>
                    <a:pt x="11663" y="101441"/>
                    <a:pt x="8805" y="105251"/>
                  </a:cubicBezTo>
                  <a:cubicBezTo>
                    <a:pt x="5948" y="109061"/>
                    <a:pt x="6900" y="115729"/>
                    <a:pt x="10710" y="118586"/>
                  </a:cubicBezTo>
                  <a:cubicBezTo>
                    <a:pt x="55478" y="151924"/>
                    <a:pt x="108818" y="170021"/>
                    <a:pt x="165015" y="170021"/>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2" name="Freihandform: Form 214">
              <a:extLst>
                <a:ext uri="{FF2B5EF4-FFF2-40B4-BE49-F238E27FC236}">
                  <a16:creationId xmlns:a16="http://schemas.microsoft.com/office/drawing/2014/main" id="{25502306-F266-4FA5-9D61-9DC03E9DAF15}"/>
                </a:ext>
              </a:extLst>
            </p:cNvPr>
            <p:cNvSpPr/>
            <p:nvPr/>
          </p:nvSpPr>
          <p:spPr>
            <a:xfrm>
              <a:off x="3945618" y="3921030"/>
              <a:ext cx="180975" cy="390525"/>
            </a:xfrm>
            <a:custGeom>
              <a:avLst/>
              <a:gdLst>
                <a:gd name="connsiteX0" fmla="*/ 175371 w 180975"/>
                <a:gd name="connsiteY0" fmla="*/ 25019 h 390525"/>
                <a:gd name="connsiteX1" fmla="*/ 180134 w 180975"/>
                <a:gd name="connsiteY1" fmla="*/ 12636 h 390525"/>
                <a:gd name="connsiteX2" fmla="*/ 167751 w 180975"/>
                <a:gd name="connsiteY2" fmla="*/ 7874 h 390525"/>
                <a:gd name="connsiteX3" fmla="*/ 15351 w 180975"/>
                <a:gd name="connsiteY3" fmla="*/ 243141 h 390525"/>
                <a:gd name="connsiteX4" fmla="*/ 46784 w 180975"/>
                <a:gd name="connsiteY4" fmla="*/ 366966 h 390525"/>
                <a:gd name="connsiteX5" fmla="*/ 19161 w 180975"/>
                <a:gd name="connsiteY5" fmla="*/ 358394 h 390525"/>
                <a:gd name="connsiteX6" fmla="*/ 7732 w 180975"/>
                <a:gd name="connsiteY6" fmla="*/ 365061 h 390525"/>
                <a:gd name="connsiteX7" fmla="*/ 14399 w 180975"/>
                <a:gd name="connsiteY7" fmla="*/ 376491 h 390525"/>
                <a:gd name="connsiteX8" fmla="*/ 65834 w 180975"/>
                <a:gd name="connsiteY8" fmla="*/ 391731 h 390525"/>
                <a:gd name="connsiteX9" fmla="*/ 65834 w 180975"/>
                <a:gd name="connsiteY9" fmla="*/ 391731 h 390525"/>
                <a:gd name="connsiteX10" fmla="*/ 67739 w 180975"/>
                <a:gd name="connsiteY10" fmla="*/ 391731 h 390525"/>
                <a:gd name="connsiteX11" fmla="*/ 68692 w 180975"/>
                <a:gd name="connsiteY11" fmla="*/ 391731 h 390525"/>
                <a:gd name="connsiteX12" fmla="*/ 70596 w 180975"/>
                <a:gd name="connsiteY12" fmla="*/ 391731 h 390525"/>
                <a:gd name="connsiteX13" fmla="*/ 71549 w 180975"/>
                <a:gd name="connsiteY13" fmla="*/ 391731 h 390525"/>
                <a:gd name="connsiteX14" fmla="*/ 73454 w 180975"/>
                <a:gd name="connsiteY14" fmla="*/ 390779 h 390525"/>
                <a:gd name="connsiteX15" fmla="*/ 74407 w 180975"/>
                <a:gd name="connsiteY15" fmla="*/ 390779 h 390525"/>
                <a:gd name="connsiteX16" fmla="*/ 74407 w 180975"/>
                <a:gd name="connsiteY16" fmla="*/ 390779 h 390525"/>
                <a:gd name="connsiteX17" fmla="*/ 77264 w 180975"/>
                <a:gd name="connsiteY17" fmla="*/ 387921 h 390525"/>
                <a:gd name="connsiteX18" fmla="*/ 77264 w 180975"/>
                <a:gd name="connsiteY18" fmla="*/ 386969 h 390525"/>
                <a:gd name="connsiteX19" fmla="*/ 78217 w 180975"/>
                <a:gd name="connsiteY19" fmla="*/ 385064 h 390525"/>
                <a:gd name="connsiteX20" fmla="*/ 93457 w 180975"/>
                <a:gd name="connsiteY20" fmla="*/ 333629 h 390525"/>
                <a:gd name="connsiteX21" fmla="*/ 86789 w 180975"/>
                <a:gd name="connsiteY21" fmla="*/ 322199 h 390525"/>
                <a:gd name="connsiteX22" fmla="*/ 75359 w 180975"/>
                <a:gd name="connsiteY22" fmla="*/ 328866 h 390525"/>
                <a:gd name="connsiteX23" fmla="*/ 65834 w 180975"/>
                <a:gd name="connsiteY23" fmla="*/ 360299 h 390525"/>
                <a:gd name="connsiteX24" fmla="*/ 35354 w 180975"/>
                <a:gd name="connsiteY24" fmla="*/ 244094 h 390525"/>
                <a:gd name="connsiteX25" fmla="*/ 175371 w 180975"/>
                <a:gd name="connsiteY25" fmla="*/ 25019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0975" h="390525">
                  <a:moveTo>
                    <a:pt x="175371" y="25019"/>
                  </a:moveTo>
                  <a:cubicBezTo>
                    <a:pt x="180134" y="23114"/>
                    <a:pt x="182039" y="17399"/>
                    <a:pt x="180134" y="12636"/>
                  </a:cubicBezTo>
                  <a:cubicBezTo>
                    <a:pt x="178229" y="7874"/>
                    <a:pt x="172514" y="5969"/>
                    <a:pt x="167751" y="7874"/>
                  </a:cubicBezTo>
                  <a:cubicBezTo>
                    <a:pt x="75359" y="48831"/>
                    <a:pt x="15351" y="141224"/>
                    <a:pt x="15351" y="243141"/>
                  </a:cubicBezTo>
                  <a:cubicBezTo>
                    <a:pt x="15351" y="286956"/>
                    <a:pt x="26782" y="328866"/>
                    <a:pt x="46784" y="366966"/>
                  </a:cubicBezTo>
                  <a:lnTo>
                    <a:pt x="19161" y="358394"/>
                  </a:lnTo>
                  <a:cubicBezTo>
                    <a:pt x="14399" y="356489"/>
                    <a:pt x="8684" y="359346"/>
                    <a:pt x="7732" y="365061"/>
                  </a:cubicBezTo>
                  <a:cubicBezTo>
                    <a:pt x="5826" y="369824"/>
                    <a:pt x="8684" y="375539"/>
                    <a:pt x="14399" y="376491"/>
                  </a:cubicBezTo>
                  <a:lnTo>
                    <a:pt x="65834" y="391731"/>
                  </a:lnTo>
                  <a:cubicBezTo>
                    <a:pt x="65834" y="391731"/>
                    <a:pt x="65834" y="391731"/>
                    <a:pt x="65834" y="391731"/>
                  </a:cubicBezTo>
                  <a:cubicBezTo>
                    <a:pt x="66786" y="391731"/>
                    <a:pt x="66786" y="391731"/>
                    <a:pt x="67739" y="391731"/>
                  </a:cubicBezTo>
                  <a:cubicBezTo>
                    <a:pt x="67739" y="391731"/>
                    <a:pt x="68692" y="391731"/>
                    <a:pt x="68692" y="391731"/>
                  </a:cubicBezTo>
                  <a:cubicBezTo>
                    <a:pt x="69644" y="391731"/>
                    <a:pt x="70596" y="391731"/>
                    <a:pt x="70596" y="391731"/>
                  </a:cubicBezTo>
                  <a:cubicBezTo>
                    <a:pt x="70596" y="391731"/>
                    <a:pt x="70596" y="391731"/>
                    <a:pt x="71549" y="391731"/>
                  </a:cubicBezTo>
                  <a:cubicBezTo>
                    <a:pt x="72501" y="391731"/>
                    <a:pt x="72501" y="390779"/>
                    <a:pt x="73454" y="390779"/>
                  </a:cubicBezTo>
                  <a:cubicBezTo>
                    <a:pt x="73454" y="390779"/>
                    <a:pt x="73454" y="390779"/>
                    <a:pt x="74407" y="390779"/>
                  </a:cubicBezTo>
                  <a:cubicBezTo>
                    <a:pt x="74407" y="390779"/>
                    <a:pt x="74407" y="390779"/>
                    <a:pt x="74407" y="390779"/>
                  </a:cubicBezTo>
                  <a:cubicBezTo>
                    <a:pt x="75359" y="389826"/>
                    <a:pt x="76311" y="388874"/>
                    <a:pt x="77264" y="387921"/>
                  </a:cubicBezTo>
                  <a:cubicBezTo>
                    <a:pt x="77264" y="387921"/>
                    <a:pt x="77264" y="387921"/>
                    <a:pt x="77264" y="386969"/>
                  </a:cubicBezTo>
                  <a:cubicBezTo>
                    <a:pt x="77264" y="386016"/>
                    <a:pt x="78217" y="386016"/>
                    <a:pt x="78217" y="385064"/>
                  </a:cubicBezTo>
                  <a:lnTo>
                    <a:pt x="93457" y="333629"/>
                  </a:lnTo>
                  <a:cubicBezTo>
                    <a:pt x="95361" y="328866"/>
                    <a:pt x="92504" y="323151"/>
                    <a:pt x="86789" y="322199"/>
                  </a:cubicBezTo>
                  <a:cubicBezTo>
                    <a:pt x="82026" y="320294"/>
                    <a:pt x="76311" y="323151"/>
                    <a:pt x="75359" y="328866"/>
                  </a:cubicBezTo>
                  <a:lnTo>
                    <a:pt x="65834" y="360299"/>
                  </a:lnTo>
                  <a:cubicBezTo>
                    <a:pt x="45832" y="325056"/>
                    <a:pt x="35354" y="285051"/>
                    <a:pt x="35354" y="244094"/>
                  </a:cubicBezTo>
                  <a:cubicBezTo>
                    <a:pt x="34401" y="147891"/>
                    <a:pt x="89646" y="63119"/>
                    <a:pt x="175371" y="25019"/>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3" name="Freihandform: Form 215">
              <a:extLst>
                <a:ext uri="{FF2B5EF4-FFF2-40B4-BE49-F238E27FC236}">
                  <a16:creationId xmlns:a16="http://schemas.microsoft.com/office/drawing/2014/main" id="{66051979-8EEE-4CFD-80DA-B4E85449EFA1}"/>
                </a:ext>
              </a:extLst>
            </p:cNvPr>
            <p:cNvSpPr/>
            <p:nvPr/>
          </p:nvSpPr>
          <p:spPr>
            <a:xfrm>
              <a:off x="4181099" y="3858375"/>
              <a:ext cx="295275" cy="342900"/>
            </a:xfrm>
            <a:custGeom>
              <a:avLst/>
              <a:gdLst>
                <a:gd name="connsiteX0" fmla="*/ 37998 w 295275"/>
                <a:gd name="connsiteY0" fmla="*/ 47669 h 342900"/>
                <a:gd name="connsiteX1" fmla="*/ 58952 w 295275"/>
                <a:gd name="connsiteY1" fmla="*/ 22904 h 342900"/>
                <a:gd name="connsiteX2" fmla="*/ 58000 w 295275"/>
                <a:gd name="connsiteY2" fmla="*/ 9569 h 342900"/>
                <a:gd name="connsiteX3" fmla="*/ 44665 w 295275"/>
                <a:gd name="connsiteY3" fmla="*/ 10522 h 342900"/>
                <a:gd name="connsiteX4" fmla="*/ 9423 w 295275"/>
                <a:gd name="connsiteY4" fmla="*/ 51479 h 342900"/>
                <a:gd name="connsiteX5" fmla="*/ 7517 w 295275"/>
                <a:gd name="connsiteY5" fmla="*/ 58147 h 342900"/>
                <a:gd name="connsiteX6" fmla="*/ 8470 w 295275"/>
                <a:gd name="connsiteY6" fmla="*/ 61957 h 342900"/>
                <a:gd name="connsiteX7" fmla="*/ 10375 w 295275"/>
                <a:gd name="connsiteY7" fmla="*/ 64814 h 342900"/>
                <a:gd name="connsiteX8" fmla="*/ 51333 w 295275"/>
                <a:gd name="connsiteY8" fmla="*/ 100057 h 342900"/>
                <a:gd name="connsiteX9" fmla="*/ 57048 w 295275"/>
                <a:gd name="connsiteY9" fmla="*/ 101962 h 342900"/>
                <a:gd name="connsiteX10" fmla="*/ 64667 w 295275"/>
                <a:gd name="connsiteY10" fmla="*/ 98152 h 342900"/>
                <a:gd name="connsiteX11" fmla="*/ 63715 w 295275"/>
                <a:gd name="connsiteY11" fmla="*/ 84817 h 342900"/>
                <a:gd name="connsiteX12" fmla="*/ 41808 w 295275"/>
                <a:gd name="connsiteY12" fmla="*/ 65767 h 342900"/>
                <a:gd name="connsiteX13" fmla="*/ 275170 w 295275"/>
                <a:gd name="connsiteY13" fmla="*/ 303892 h 342900"/>
                <a:gd name="connsiteX14" fmla="*/ 274217 w 295275"/>
                <a:gd name="connsiteY14" fmla="*/ 325799 h 342900"/>
                <a:gd name="connsiteX15" fmla="*/ 282790 w 295275"/>
                <a:gd name="connsiteY15" fmla="*/ 336277 h 342900"/>
                <a:gd name="connsiteX16" fmla="*/ 283742 w 295275"/>
                <a:gd name="connsiteY16" fmla="*/ 336277 h 342900"/>
                <a:gd name="connsiteX17" fmla="*/ 293267 w 295275"/>
                <a:gd name="connsiteY17" fmla="*/ 327704 h 342900"/>
                <a:gd name="connsiteX18" fmla="*/ 294220 w 295275"/>
                <a:gd name="connsiteY18" fmla="*/ 304844 h 342900"/>
                <a:gd name="connsiteX19" fmla="*/ 37998 w 295275"/>
                <a:gd name="connsiteY19" fmla="*/ 47669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5275" h="342900">
                  <a:moveTo>
                    <a:pt x="37998" y="47669"/>
                  </a:moveTo>
                  <a:lnTo>
                    <a:pt x="58952" y="22904"/>
                  </a:lnTo>
                  <a:cubicBezTo>
                    <a:pt x="62763" y="19094"/>
                    <a:pt x="61810" y="12427"/>
                    <a:pt x="58000" y="9569"/>
                  </a:cubicBezTo>
                  <a:cubicBezTo>
                    <a:pt x="54190" y="5759"/>
                    <a:pt x="47523" y="6712"/>
                    <a:pt x="44665" y="10522"/>
                  </a:cubicBezTo>
                  <a:lnTo>
                    <a:pt x="9423" y="51479"/>
                  </a:lnTo>
                  <a:cubicBezTo>
                    <a:pt x="7517" y="53384"/>
                    <a:pt x="6565" y="56242"/>
                    <a:pt x="7517" y="58147"/>
                  </a:cubicBezTo>
                  <a:cubicBezTo>
                    <a:pt x="7517" y="59099"/>
                    <a:pt x="7517" y="61004"/>
                    <a:pt x="8470" y="61957"/>
                  </a:cubicBezTo>
                  <a:cubicBezTo>
                    <a:pt x="9423" y="62909"/>
                    <a:pt x="9423" y="63862"/>
                    <a:pt x="10375" y="64814"/>
                  </a:cubicBezTo>
                  <a:lnTo>
                    <a:pt x="51333" y="100057"/>
                  </a:lnTo>
                  <a:cubicBezTo>
                    <a:pt x="53238" y="101962"/>
                    <a:pt x="55142" y="101962"/>
                    <a:pt x="57048" y="101962"/>
                  </a:cubicBezTo>
                  <a:cubicBezTo>
                    <a:pt x="59905" y="101962"/>
                    <a:pt x="62763" y="101009"/>
                    <a:pt x="64667" y="98152"/>
                  </a:cubicBezTo>
                  <a:cubicBezTo>
                    <a:pt x="68477" y="94342"/>
                    <a:pt x="67525" y="87674"/>
                    <a:pt x="63715" y="84817"/>
                  </a:cubicBezTo>
                  <a:lnTo>
                    <a:pt x="41808" y="65767"/>
                  </a:lnTo>
                  <a:cubicBezTo>
                    <a:pt x="171348" y="68624"/>
                    <a:pt x="275170" y="174352"/>
                    <a:pt x="275170" y="303892"/>
                  </a:cubicBezTo>
                  <a:cubicBezTo>
                    <a:pt x="275170" y="311512"/>
                    <a:pt x="275170" y="318179"/>
                    <a:pt x="274217" y="325799"/>
                  </a:cubicBezTo>
                  <a:cubicBezTo>
                    <a:pt x="274217" y="330562"/>
                    <a:pt x="278027" y="335324"/>
                    <a:pt x="282790" y="336277"/>
                  </a:cubicBezTo>
                  <a:cubicBezTo>
                    <a:pt x="282790" y="336277"/>
                    <a:pt x="283742" y="336277"/>
                    <a:pt x="283742" y="336277"/>
                  </a:cubicBezTo>
                  <a:cubicBezTo>
                    <a:pt x="288505" y="336277"/>
                    <a:pt x="292315" y="332467"/>
                    <a:pt x="293267" y="327704"/>
                  </a:cubicBezTo>
                  <a:cubicBezTo>
                    <a:pt x="294220" y="320084"/>
                    <a:pt x="294220" y="312464"/>
                    <a:pt x="294220" y="304844"/>
                  </a:cubicBezTo>
                  <a:cubicBezTo>
                    <a:pt x="294220" y="162922"/>
                    <a:pt x="178967" y="47669"/>
                    <a:pt x="37998" y="47669"/>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pic>
        <p:nvPicPr>
          <p:cNvPr id="64" name="Picture 63"/>
          <p:cNvPicPr>
            <a:picLocks noChangeAspect="1"/>
          </p:cNvPicPr>
          <p:nvPr/>
        </p:nvPicPr>
        <p:blipFill>
          <a:blip r:embed="rId4"/>
          <a:stretch>
            <a:fillRect/>
          </a:stretch>
        </p:blipFill>
        <p:spPr>
          <a:xfrm>
            <a:off x="4397995" y="2685712"/>
            <a:ext cx="352741" cy="356268"/>
          </a:xfrm>
          <a:prstGeom prst="rect">
            <a:avLst/>
          </a:prstGeom>
        </p:spPr>
      </p:pic>
      <p:pic>
        <p:nvPicPr>
          <p:cNvPr id="65" name="Picture 8" descr="Related image"/>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1351" b="100000" l="676" r="100000"/>
                    </a14:imgEffect>
                  </a14:imgLayer>
                </a14:imgProps>
              </a:ext>
              <a:ext uri="{28A0092B-C50C-407E-A947-70E740481C1C}">
                <a14:useLocalDpi xmlns:a14="http://schemas.microsoft.com/office/drawing/2010/main" val="0"/>
              </a:ext>
            </a:extLst>
          </a:blip>
          <a:srcRect/>
          <a:stretch>
            <a:fillRect/>
          </a:stretch>
        </p:blipFill>
        <p:spPr bwMode="auto">
          <a:xfrm>
            <a:off x="3907485" y="3041980"/>
            <a:ext cx="532020" cy="532020"/>
          </a:xfrm>
          <a:prstGeom prst="rect">
            <a:avLst/>
          </a:prstGeom>
          <a:noFill/>
          <a:extLst>
            <a:ext uri="{909E8E84-426E-40DD-AFC4-6F175D3DCCD1}">
              <a14:hiddenFill xmlns:a14="http://schemas.microsoft.com/office/drawing/2010/main">
                <a:solidFill>
                  <a:srgbClr val="FFFFFF"/>
                </a:solidFill>
              </a14:hiddenFill>
            </a:ext>
          </a:extLst>
        </p:spPr>
      </p:pic>
      <p:cxnSp>
        <p:nvCxnSpPr>
          <p:cNvPr id="66" name="Straight Connector 65"/>
          <p:cNvCxnSpPr/>
          <p:nvPr/>
        </p:nvCxnSpPr>
        <p:spPr bwMode="gray">
          <a:xfrm flipH="1">
            <a:off x="2616813" y="2451213"/>
            <a:ext cx="748382"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bwMode="gray">
          <a:xfrm flipH="1">
            <a:off x="2371039" y="3989955"/>
            <a:ext cx="74838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bwMode="gray">
          <a:xfrm flipH="1">
            <a:off x="5315315" y="3665923"/>
            <a:ext cx="748382"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bwMode="gray">
          <a:xfrm flipH="1">
            <a:off x="4923609" y="2434957"/>
            <a:ext cx="74838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0" name="TextBox 69"/>
          <p:cNvSpPr txBox="1"/>
          <p:nvPr/>
        </p:nvSpPr>
        <p:spPr>
          <a:xfrm>
            <a:off x="4004044" y="4410001"/>
            <a:ext cx="29014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srgbClr val="000000"/>
                </a:solidFill>
                <a:effectLst/>
                <a:uLnTx/>
                <a:uFillTx/>
                <a:latin typeface="Arial"/>
                <a:ea typeface="+mn-ea"/>
                <a:cs typeface="+mn-cs"/>
              </a:rPr>
              <a:t>API</a:t>
            </a:r>
            <a:endParaRPr kumimoji="0" lang="en-GB" sz="14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71" name="Freihandform: Form 36">
            <a:extLst>
              <a:ext uri="{FF2B5EF4-FFF2-40B4-BE49-F238E27FC236}">
                <a16:creationId xmlns:a16="http://schemas.microsoft.com/office/drawing/2014/main" id="{DC2E0EB4-E641-4473-978D-99F90FEE1B6D}"/>
              </a:ext>
            </a:extLst>
          </p:cNvPr>
          <p:cNvSpPr>
            <a:spLocks/>
          </p:cNvSpPr>
          <p:nvPr/>
        </p:nvSpPr>
        <p:spPr bwMode="gray">
          <a:xfrm>
            <a:off x="892771" y="957175"/>
            <a:ext cx="144000" cy="144000"/>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dirty="0">
              <a:solidFill>
                <a:schemeClr val="tx1"/>
              </a:solidFill>
            </a:endParaRPr>
          </a:p>
        </p:txBody>
      </p:sp>
      <p:pic>
        <p:nvPicPr>
          <p:cNvPr id="72" name="Picture 2" descr="EDEM Escuela de Empresarios, Fundación de la Comunidad Valenciana -  Asociación Valenciana de Fundaciones de la CV">
            <a:extLst>
              <a:ext uri="{FF2B5EF4-FFF2-40B4-BE49-F238E27FC236}">
                <a16:creationId xmlns:a16="http://schemas.microsoft.com/office/drawing/2014/main" id="{B211338B-4733-494E-920B-91CDC884648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66214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Confluent</a:t>
            </a:r>
          </a:p>
        </p:txBody>
      </p:sp>
      <p:sp>
        <p:nvSpPr>
          <p:cNvPr id="3" name="Date Placeholder 2"/>
          <p:cNvSpPr>
            <a:spLocks noGrp="1"/>
          </p:cNvSpPr>
          <p:nvPr>
            <p:ph type="dt" sz="half" idx="2"/>
          </p:nvPr>
        </p:nvSpPr>
        <p:spPr/>
        <p:txBody>
          <a:bodyPr/>
          <a:lstStyle/>
          <a:p>
            <a:pPr defTabSz="685800"/>
            <a:fld id="{F083F41A-041A-4006-B4DB-57C47C38AE86}" type="datetime1">
              <a:rPr lang="en-GB" smtClean="0"/>
              <a:t>02/12/2021</a:t>
            </a:fld>
            <a:endParaRPr lang="en-GB" dirty="0"/>
          </a:p>
        </p:txBody>
      </p:sp>
      <p:sp>
        <p:nvSpPr>
          <p:cNvPr id="9" name="Text Placeholder 8"/>
          <p:cNvSpPr>
            <a:spLocks noGrp="1"/>
          </p:cNvSpPr>
          <p:nvPr>
            <p:ph type="body" sz="quarter" idx="12"/>
          </p:nvPr>
        </p:nvSpPr>
        <p:spPr/>
        <p:txBody>
          <a:bodyPr/>
          <a:lstStyle/>
          <a:p>
            <a:endParaRPr lang="en-US"/>
          </a:p>
        </p:txBody>
      </p:sp>
      <p:sp>
        <p:nvSpPr>
          <p:cNvPr id="6" name="Footer Placeholder 5"/>
          <p:cNvSpPr>
            <a:spLocks noGrp="1"/>
          </p:cNvSpPr>
          <p:nvPr>
            <p:ph type="ftr" sz="quarter" idx="13"/>
          </p:nvPr>
        </p:nvSpPr>
        <p:spPr/>
        <p:txBody>
          <a:bodyPr/>
          <a:lstStyle/>
          <a:p>
            <a:r>
              <a:rPr lang="en-US"/>
              <a:t>Type here if  add info needed  for every slide</a:t>
            </a:r>
            <a:endParaRPr lang="en-US" dirty="0"/>
          </a:p>
        </p:txBody>
      </p:sp>
      <p:sp>
        <p:nvSpPr>
          <p:cNvPr id="10" name="Textplatzhalter 4"/>
          <p:cNvSpPr>
            <a:spLocks noGrp="1"/>
          </p:cNvSpPr>
          <p:nvPr>
            <p:ph type="body" sz="quarter" idx="10"/>
          </p:nvPr>
        </p:nvSpPr>
        <p:spPr>
          <a:xfrm>
            <a:off x="978102" y="1155030"/>
            <a:ext cx="4952435" cy="387798"/>
          </a:xfrm>
        </p:spPr>
        <p:txBody>
          <a:bodyPr/>
          <a:lstStyle/>
          <a:p>
            <a:r>
              <a:rPr lang="en-GB" dirty="0"/>
              <a:t>Confluent is the </a:t>
            </a:r>
            <a:r>
              <a:rPr lang="en-GB" b="1" dirty="0">
                <a:solidFill>
                  <a:schemeClr val="accent2"/>
                </a:solidFill>
              </a:rPr>
              <a:t>company behind Apache Kafka  </a:t>
            </a:r>
            <a:r>
              <a:rPr lang="en-GB" dirty="0"/>
              <a:t>founded by Kafka creators</a:t>
            </a:r>
          </a:p>
        </p:txBody>
      </p:sp>
      <p:grpSp>
        <p:nvGrpSpPr>
          <p:cNvPr id="11" name="Group 10"/>
          <p:cNvGrpSpPr/>
          <p:nvPr/>
        </p:nvGrpSpPr>
        <p:grpSpPr>
          <a:xfrm>
            <a:off x="1700740" y="1777791"/>
            <a:ext cx="2824119" cy="3067166"/>
            <a:chOff x="307833" y="1586799"/>
            <a:chExt cx="1964185" cy="3135122"/>
          </a:xfrm>
        </p:grpSpPr>
        <p:sp>
          <p:nvSpPr>
            <p:cNvPr id="12" name="Rectangle: Rounded Corners 32">
              <a:extLst>
                <a:ext uri="{FF2B5EF4-FFF2-40B4-BE49-F238E27FC236}">
                  <a16:creationId xmlns:a16="http://schemas.microsoft.com/office/drawing/2014/main" id="{4B8AD345-C599-4F6B-B754-008805CA7CEA}"/>
                </a:ext>
              </a:extLst>
            </p:cNvPr>
            <p:cNvSpPr/>
            <p:nvPr/>
          </p:nvSpPr>
          <p:spPr>
            <a:xfrm>
              <a:off x="307833" y="1621006"/>
              <a:ext cx="1964185" cy="3100915"/>
            </a:xfrm>
            <a:prstGeom prst="roundRect">
              <a:avLst>
                <a:gd name="adj" fmla="val 4802"/>
              </a:avLst>
            </a:prstGeom>
            <a:solidFill>
              <a:schemeClr val="accent3"/>
            </a:solidFill>
            <a:ln>
              <a:noFill/>
            </a:ln>
            <a:effectLst>
              <a:outerShdw blurRad="177800" sx="106000" sy="106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grpSp>
          <p:nvGrpSpPr>
            <p:cNvPr id="13" name="Group 12"/>
            <p:cNvGrpSpPr/>
            <p:nvPr/>
          </p:nvGrpSpPr>
          <p:grpSpPr>
            <a:xfrm>
              <a:off x="307833" y="1586799"/>
              <a:ext cx="1964185" cy="3133216"/>
              <a:chOff x="307833" y="1586799"/>
              <a:chExt cx="1964185" cy="3133216"/>
            </a:xfrm>
          </p:grpSpPr>
          <p:sp>
            <p:nvSpPr>
              <p:cNvPr id="14" name="Freeform: Shape 16">
                <a:extLst>
                  <a:ext uri="{FF2B5EF4-FFF2-40B4-BE49-F238E27FC236}">
                    <a16:creationId xmlns:a16="http://schemas.microsoft.com/office/drawing/2014/main" id="{DDFCADFD-8EEC-48A1-B60B-A6A44A77B21C}"/>
                  </a:ext>
                </a:extLst>
              </p:cNvPr>
              <p:cNvSpPr/>
              <p:nvPr/>
            </p:nvSpPr>
            <p:spPr>
              <a:xfrm>
                <a:off x="307833" y="2367311"/>
                <a:ext cx="1964185" cy="2352704"/>
              </a:xfrm>
              <a:custGeom>
                <a:avLst/>
                <a:gdLst>
                  <a:gd name="connsiteX0" fmla="*/ 54288 w 2618913"/>
                  <a:gd name="connsiteY0" fmla="*/ 386 h 2748221"/>
                  <a:gd name="connsiteX1" fmla="*/ 103106 w 2618913"/>
                  <a:gd name="connsiteY1" fmla="*/ 3421 h 2748221"/>
                  <a:gd name="connsiteX2" fmla="*/ 232387 w 2618913"/>
                  <a:gd name="connsiteY2" fmla="*/ 22301 h 2748221"/>
                  <a:gd name="connsiteX3" fmla="*/ 391296 w 2618913"/>
                  <a:gd name="connsiteY3" fmla="*/ 70851 h 2748221"/>
                  <a:gd name="connsiteX4" fmla="*/ 574445 w 2618913"/>
                  <a:gd name="connsiteY4" fmla="*/ 149069 h 2748221"/>
                  <a:gd name="connsiteX5" fmla="*/ 780937 w 2618913"/>
                  <a:gd name="connsiteY5" fmla="*/ 246168 h 2748221"/>
                  <a:gd name="connsiteX6" fmla="*/ 895854 w 2618913"/>
                  <a:gd name="connsiteY6" fmla="*/ 295617 h 2748221"/>
                  <a:gd name="connsiteX7" fmla="*/ 1017954 w 2618913"/>
                  <a:gd name="connsiteY7" fmla="*/ 341469 h 2748221"/>
                  <a:gd name="connsiteX8" fmla="*/ 1288189 w 2618913"/>
                  <a:gd name="connsiteY8" fmla="*/ 403504 h 2748221"/>
                  <a:gd name="connsiteX9" fmla="*/ 1575481 w 2618913"/>
                  <a:gd name="connsiteY9" fmla="*/ 392716 h 2748221"/>
                  <a:gd name="connsiteX10" fmla="*/ 1644611 w 2618913"/>
                  <a:gd name="connsiteY10" fmla="*/ 376532 h 2748221"/>
                  <a:gd name="connsiteX11" fmla="*/ 1704763 w 2618913"/>
                  <a:gd name="connsiteY11" fmla="*/ 358551 h 2748221"/>
                  <a:gd name="connsiteX12" fmla="*/ 1821476 w 2618913"/>
                  <a:gd name="connsiteY12" fmla="*/ 323488 h 2748221"/>
                  <a:gd name="connsiteX13" fmla="*/ 2040537 w 2618913"/>
                  <a:gd name="connsiteY13" fmla="*/ 254260 h 2748221"/>
                  <a:gd name="connsiteX14" fmla="*/ 2231766 w 2618913"/>
                  <a:gd name="connsiteY14" fmla="*/ 195821 h 2748221"/>
                  <a:gd name="connsiteX15" fmla="*/ 2392470 w 2618913"/>
                  <a:gd name="connsiteY15" fmla="*/ 165252 h 2748221"/>
                  <a:gd name="connsiteX16" fmla="*/ 2520854 w 2618913"/>
                  <a:gd name="connsiteY16" fmla="*/ 168849 h 2748221"/>
                  <a:gd name="connsiteX17" fmla="*/ 2606144 w 2618913"/>
                  <a:gd name="connsiteY17" fmla="*/ 183234 h 2748221"/>
                  <a:gd name="connsiteX18" fmla="*/ 2618913 w 2618913"/>
                  <a:gd name="connsiteY18" fmla="*/ 185956 h 2748221"/>
                  <a:gd name="connsiteX19" fmla="*/ 2618913 w 2618913"/>
                  <a:gd name="connsiteY19" fmla="*/ 2622461 h 2748221"/>
                  <a:gd name="connsiteX20" fmla="*/ 2493153 w 2618913"/>
                  <a:gd name="connsiteY20" fmla="*/ 2748221 h 2748221"/>
                  <a:gd name="connsiteX21" fmla="*/ 125760 w 2618913"/>
                  <a:gd name="connsiteY21" fmla="*/ 2748221 h 2748221"/>
                  <a:gd name="connsiteX22" fmla="*/ 0 w 2618913"/>
                  <a:gd name="connsiteY22" fmla="*/ 2622461 h 2748221"/>
                  <a:gd name="connsiteX23" fmla="*/ 0 w 2618913"/>
                  <a:gd name="connsiteY23" fmla="*/ 1049 h 2748221"/>
                  <a:gd name="connsiteX24" fmla="*/ 16918 w 2618913"/>
                  <a:gd name="connsiteY24" fmla="*/ 724 h 2748221"/>
                  <a:gd name="connsiteX25" fmla="*/ 54288 w 2618913"/>
                  <a:gd name="connsiteY25" fmla="*/ 386 h 274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618913" h="2748221">
                    <a:moveTo>
                      <a:pt x="54288" y="386"/>
                    </a:moveTo>
                    <a:cubicBezTo>
                      <a:pt x="68765" y="949"/>
                      <a:pt x="85150" y="2073"/>
                      <a:pt x="103106" y="3421"/>
                    </a:cubicBezTo>
                    <a:cubicBezTo>
                      <a:pt x="139915" y="6118"/>
                      <a:pt x="183907" y="11512"/>
                      <a:pt x="232387" y="22301"/>
                    </a:cubicBezTo>
                    <a:cubicBezTo>
                      <a:pt x="280868" y="33989"/>
                      <a:pt x="333838" y="49273"/>
                      <a:pt x="391296" y="70851"/>
                    </a:cubicBezTo>
                    <a:cubicBezTo>
                      <a:pt x="448755" y="92428"/>
                      <a:pt x="508907" y="118501"/>
                      <a:pt x="574445" y="149069"/>
                    </a:cubicBezTo>
                    <a:cubicBezTo>
                      <a:pt x="639086" y="178738"/>
                      <a:pt x="707318" y="212903"/>
                      <a:pt x="780937" y="246168"/>
                    </a:cubicBezTo>
                    <a:cubicBezTo>
                      <a:pt x="817746" y="263250"/>
                      <a:pt x="856351" y="279434"/>
                      <a:pt x="895854" y="295617"/>
                    </a:cubicBezTo>
                    <a:cubicBezTo>
                      <a:pt x="935357" y="311800"/>
                      <a:pt x="975758" y="327983"/>
                      <a:pt x="1017954" y="341469"/>
                    </a:cubicBezTo>
                    <a:cubicBezTo>
                      <a:pt x="1102346" y="370239"/>
                      <a:pt x="1193023" y="392716"/>
                      <a:pt x="1288189" y="403504"/>
                    </a:cubicBezTo>
                    <a:cubicBezTo>
                      <a:pt x="1382456" y="413394"/>
                      <a:pt x="1481213" y="411596"/>
                      <a:pt x="1575481" y="392716"/>
                    </a:cubicBezTo>
                    <a:cubicBezTo>
                      <a:pt x="1598824" y="387321"/>
                      <a:pt x="1622166" y="381927"/>
                      <a:pt x="1644611" y="376532"/>
                    </a:cubicBezTo>
                    <a:cubicBezTo>
                      <a:pt x="1664363" y="370239"/>
                      <a:pt x="1685012" y="364845"/>
                      <a:pt x="1704763" y="358551"/>
                    </a:cubicBezTo>
                    <a:cubicBezTo>
                      <a:pt x="1744266" y="347762"/>
                      <a:pt x="1782871" y="336075"/>
                      <a:pt x="1821476" y="323488"/>
                    </a:cubicBezTo>
                    <a:cubicBezTo>
                      <a:pt x="1897788" y="300112"/>
                      <a:pt x="1971407" y="275837"/>
                      <a:pt x="2040537" y="254260"/>
                    </a:cubicBezTo>
                    <a:cubicBezTo>
                      <a:pt x="2108769" y="231783"/>
                      <a:pt x="2173409" y="211105"/>
                      <a:pt x="2231766" y="195821"/>
                    </a:cubicBezTo>
                    <a:cubicBezTo>
                      <a:pt x="2291020" y="179637"/>
                      <a:pt x="2343990" y="168849"/>
                      <a:pt x="2392470" y="165252"/>
                    </a:cubicBezTo>
                    <a:cubicBezTo>
                      <a:pt x="2440951" y="162555"/>
                      <a:pt x="2484045" y="164353"/>
                      <a:pt x="2520854" y="168849"/>
                    </a:cubicBezTo>
                    <a:cubicBezTo>
                      <a:pt x="2556766" y="174243"/>
                      <a:pt x="2586393" y="178738"/>
                      <a:pt x="2606144" y="183234"/>
                    </a:cubicBezTo>
                    <a:lnTo>
                      <a:pt x="2618913" y="185956"/>
                    </a:lnTo>
                    <a:lnTo>
                      <a:pt x="2618913" y="2622461"/>
                    </a:lnTo>
                    <a:cubicBezTo>
                      <a:pt x="2618913" y="2691916"/>
                      <a:pt x="2562608" y="2748221"/>
                      <a:pt x="2493153" y="2748221"/>
                    </a:cubicBezTo>
                    <a:lnTo>
                      <a:pt x="125760" y="2748221"/>
                    </a:lnTo>
                    <a:cubicBezTo>
                      <a:pt x="56305" y="2748221"/>
                      <a:pt x="0" y="2691916"/>
                      <a:pt x="0" y="2622461"/>
                    </a:cubicBezTo>
                    <a:lnTo>
                      <a:pt x="0" y="1049"/>
                    </a:lnTo>
                    <a:lnTo>
                      <a:pt x="16918" y="724"/>
                    </a:lnTo>
                    <a:cubicBezTo>
                      <a:pt x="27243" y="-175"/>
                      <a:pt x="39812" y="-175"/>
                      <a:pt x="54288" y="38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grpSp>
            <p:nvGrpSpPr>
              <p:cNvPr id="15" name="Group 14">
                <a:extLst>
                  <a:ext uri="{FF2B5EF4-FFF2-40B4-BE49-F238E27FC236}">
                    <a16:creationId xmlns:a16="http://schemas.microsoft.com/office/drawing/2014/main" id="{E9482859-E011-4525-85BC-27C7F73F1A0C}"/>
                  </a:ext>
                </a:extLst>
              </p:cNvPr>
              <p:cNvGrpSpPr/>
              <p:nvPr/>
            </p:nvGrpSpPr>
            <p:grpSpPr>
              <a:xfrm>
                <a:off x="307833" y="1586799"/>
                <a:ext cx="1964185" cy="1016803"/>
                <a:chOff x="410444" y="1394507"/>
                <a:chExt cx="2618913" cy="1355737"/>
              </a:xfrm>
            </p:grpSpPr>
            <p:sp>
              <p:nvSpPr>
                <p:cNvPr id="16" name="Freeform: Shape 11">
                  <a:extLst>
                    <a:ext uri="{FF2B5EF4-FFF2-40B4-BE49-F238E27FC236}">
                      <a16:creationId xmlns:a16="http://schemas.microsoft.com/office/drawing/2014/main" id="{A0781E87-9BB5-4FA6-BD2D-348608651A7A}"/>
                    </a:ext>
                  </a:extLst>
                </p:cNvPr>
                <p:cNvSpPr/>
                <p:nvPr/>
              </p:nvSpPr>
              <p:spPr>
                <a:xfrm>
                  <a:off x="410444" y="2167401"/>
                  <a:ext cx="2618913" cy="484219"/>
                </a:xfrm>
                <a:custGeom>
                  <a:avLst/>
                  <a:gdLst>
                    <a:gd name="connsiteX0" fmla="*/ 304211 w 2618913"/>
                    <a:gd name="connsiteY0" fmla="*/ 0 h 484220"/>
                    <a:gd name="connsiteX1" fmla="*/ 423617 w 2618913"/>
                    <a:gd name="connsiteY1" fmla="*/ 7193 h 484220"/>
                    <a:gd name="connsiteX2" fmla="*/ 636393 w 2618913"/>
                    <a:gd name="connsiteY2" fmla="*/ 49449 h 484220"/>
                    <a:gd name="connsiteX3" fmla="*/ 859943 w 2618913"/>
                    <a:gd name="connsiteY3" fmla="*/ 116879 h 484220"/>
                    <a:gd name="connsiteX4" fmla="*/ 973962 w 2618913"/>
                    <a:gd name="connsiteY4" fmla="*/ 153740 h 484220"/>
                    <a:gd name="connsiteX5" fmla="*/ 1087981 w 2618913"/>
                    <a:gd name="connsiteY5" fmla="*/ 187905 h 484220"/>
                    <a:gd name="connsiteX6" fmla="*/ 1315122 w 2618913"/>
                    <a:gd name="connsiteY6" fmla="*/ 232858 h 484220"/>
                    <a:gd name="connsiteX7" fmla="*/ 1535081 w 2618913"/>
                    <a:gd name="connsiteY7" fmla="*/ 231959 h 484220"/>
                    <a:gd name="connsiteX8" fmla="*/ 1588948 w 2618913"/>
                    <a:gd name="connsiteY8" fmla="*/ 222069 h 484220"/>
                    <a:gd name="connsiteX9" fmla="*/ 1649998 w 2618913"/>
                    <a:gd name="connsiteY9" fmla="*/ 209482 h 484220"/>
                    <a:gd name="connsiteX10" fmla="*/ 1769404 w 2618913"/>
                    <a:gd name="connsiteY10" fmla="*/ 186106 h 484220"/>
                    <a:gd name="connsiteX11" fmla="*/ 1999238 w 2618913"/>
                    <a:gd name="connsiteY11" fmla="*/ 147447 h 484220"/>
                    <a:gd name="connsiteX12" fmla="*/ 2212912 w 2618913"/>
                    <a:gd name="connsiteY12" fmla="*/ 128566 h 484220"/>
                    <a:gd name="connsiteX13" fmla="*/ 2400550 w 2618913"/>
                    <a:gd name="connsiteY13" fmla="*/ 144750 h 484220"/>
                    <a:gd name="connsiteX14" fmla="*/ 2536117 w 2618913"/>
                    <a:gd name="connsiteY14" fmla="*/ 196895 h 484220"/>
                    <a:gd name="connsiteX15" fmla="*/ 2611531 w 2618913"/>
                    <a:gd name="connsiteY15" fmla="*/ 245445 h 484220"/>
                    <a:gd name="connsiteX16" fmla="*/ 2618913 w 2618913"/>
                    <a:gd name="connsiteY16" fmla="*/ 250957 h 484220"/>
                    <a:gd name="connsiteX17" fmla="*/ 2618913 w 2618913"/>
                    <a:gd name="connsiteY17" fmla="*/ 260754 h 484220"/>
                    <a:gd name="connsiteX18" fmla="*/ 2606144 w 2618913"/>
                    <a:gd name="connsiteY18" fmla="*/ 258032 h 484220"/>
                    <a:gd name="connsiteX19" fmla="*/ 2520854 w 2618913"/>
                    <a:gd name="connsiteY19" fmla="*/ 243647 h 484220"/>
                    <a:gd name="connsiteX20" fmla="*/ 2392470 w 2618913"/>
                    <a:gd name="connsiteY20" fmla="*/ 240050 h 484220"/>
                    <a:gd name="connsiteX21" fmla="*/ 2231766 w 2618913"/>
                    <a:gd name="connsiteY21" fmla="*/ 270619 h 484220"/>
                    <a:gd name="connsiteX22" fmla="*/ 2040537 w 2618913"/>
                    <a:gd name="connsiteY22" fmla="*/ 329058 h 484220"/>
                    <a:gd name="connsiteX23" fmla="*/ 1821476 w 2618913"/>
                    <a:gd name="connsiteY23" fmla="*/ 398286 h 484220"/>
                    <a:gd name="connsiteX24" fmla="*/ 1704763 w 2618913"/>
                    <a:gd name="connsiteY24" fmla="*/ 433349 h 484220"/>
                    <a:gd name="connsiteX25" fmla="*/ 1644611 w 2618913"/>
                    <a:gd name="connsiteY25" fmla="*/ 451330 h 484220"/>
                    <a:gd name="connsiteX26" fmla="*/ 1575481 w 2618913"/>
                    <a:gd name="connsiteY26" fmla="*/ 467514 h 484220"/>
                    <a:gd name="connsiteX27" fmla="*/ 1288189 w 2618913"/>
                    <a:gd name="connsiteY27" fmla="*/ 478302 h 484220"/>
                    <a:gd name="connsiteX28" fmla="*/ 1017954 w 2618913"/>
                    <a:gd name="connsiteY28" fmla="*/ 416267 h 484220"/>
                    <a:gd name="connsiteX29" fmla="*/ 895854 w 2618913"/>
                    <a:gd name="connsiteY29" fmla="*/ 370415 h 484220"/>
                    <a:gd name="connsiteX30" fmla="*/ 780937 w 2618913"/>
                    <a:gd name="connsiteY30" fmla="*/ 320966 h 484220"/>
                    <a:gd name="connsiteX31" fmla="*/ 574445 w 2618913"/>
                    <a:gd name="connsiteY31" fmla="*/ 223867 h 484220"/>
                    <a:gd name="connsiteX32" fmla="*/ 391296 w 2618913"/>
                    <a:gd name="connsiteY32" fmla="*/ 145649 h 484220"/>
                    <a:gd name="connsiteX33" fmla="*/ 232387 w 2618913"/>
                    <a:gd name="connsiteY33" fmla="*/ 97099 h 484220"/>
                    <a:gd name="connsiteX34" fmla="*/ 103106 w 2618913"/>
                    <a:gd name="connsiteY34" fmla="*/ 78219 h 484220"/>
                    <a:gd name="connsiteX35" fmla="*/ 16918 w 2618913"/>
                    <a:gd name="connsiteY35" fmla="*/ 75522 h 484220"/>
                    <a:gd name="connsiteX36" fmla="*/ 0 w 2618913"/>
                    <a:gd name="connsiteY36" fmla="*/ 75847 h 484220"/>
                    <a:gd name="connsiteX37" fmla="*/ 0 w 2618913"/>
                    <a:gd name="connsiteY37" fmla="*/ 68854 h 484220"/>
                    <a:gd name="connsiteX38" fmla="*/ 13327 w 2618913"/>
                    <a:gd name="connsiteY38" fmla="*/ 62036 h 484220"/>
                    <a:gd name="connsiteX39" fmla="*/ 48340 w 2618913"/>
                    <a:gd name="connsiteY39" fmla="*/ 46751 h 484220"/>
                    <a:gd name="connsiteX40" fmla="*/ 97719 w 2618913"/>
                    <a:gd name="connsiteY40" fmla="*/ 28770 h 484220"/>
                    <a:gd name="connsiteX41" fmla="*/ 237774 w 2618913"/>
                    <a:gd name="connsiteY41" fmla="*/ 2697 h 484220"/>
                    <a:gd name="connsiteX42" fmla="*/ 304211 w 2618913"/>
                    <a:gd name="connsiteY42" fmla="*/ 0 h 484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618913" h="484220">
                      <a:moveTo>
                        <a:pt x="304211" y="0"/>
                      </a:moveTo>
                      <a:cubicBezTo>
                        <a:pt x="341918" y="0"/>
                        <a:pt x="382318" y="2697"/>
                        <a:pt x="423617" y="7193"/>
                      </a:cubicBezTo>
                      <a:cubicBezTo>
                        <a:pt x="490951" y="15284"/>
                        <a:pt x="562774" y="30568"/>
                        <a:pt x="636393" y="49449"/>
                      </a:cubicBezTo>
                      <a:cubicBezTo>
                        <a:pt x="709114" y="69228"/>
                        <a:pt x="784528" y="92604"/>
                        <a:pt x="859943" y="116879"/>
                      </a:cubicBezTo>
                      <a:cubicBezTo>
                        <a:pt x="897650" y="129465"/>
                        <a:pt x="935357" y="141153"/>
                        <a:pt x="973962" y="153740"/>
                      </a:cubicBezTo>
                      <a:cubicBezTo>
                        <a:pt x="1011669" y="165428"/>
                        <a:pt x="1050274" y="177116"/>
                        <a:pt x="1087981" y="187905"/>
                      </a:cubicBezTo>
                      <a:cubicBezTo>
                        <a:pt x="1164294" y="207684"/>
                        <a:pt x="1239708" y="225665"/>
                        <a:pt x="1315122" y="232858"/>
                      </a:cubicBezTo>
                      <a:cubicBezTo>
                        <a:pt x="1389639" y="241848"/>
                        <a:pt x="1463258" y="240949"/>
                        <a:pt x="1535081" y="231959"/>
                      </a:cubicBezTo>
                      <a:cubicBezTo>
                        <a:pt x="1553037" y="228363"/>
                        <a:pt x="1570992" y="224766"/>
                        <a:pt x="1588948" y="222069"/>
                      </a:cubicBezTo>
                      <a:cubicBezTo>
                        <a:pt x="1608700" y="217574"/>
                        <a:pt x="1629349" y="213977"/>
                        <a:pt x="1649998" y="209482"/>
                      </a:cubicBezTo>
                      <a:cubicBezTo>
                        <a:pt x="1690398" y="201391"/>
                        <a:pt x="1729901" y="193299"/>
                        <a:pt x="1769404" y="186106"/>
                      </a:cubicBezTo>
                      <a:cubicBezTo>
                        <a:pt x="1847512" y="171721"/>
                        <a:pt x="1924722" y="158235"/>
                        <a:pt x="1999238" y="147447"/>
                      </a:cubicBezTo>
                      <a:cubicBezTo>
                        <a:pt x="2072857" y="137557"/>
                        <a:pt x="2144680" y="129465"/>
                        <a:pt x="2212912" y="128566"/>
                      </a:cubicBezTo>
                      <a:cubicBezTo>
                        <a:pt x="2281144" y="127667"/>
                        <a:pt x="2345785" y="132163"/>
                        <a:pt x="2400550" y="144750"/>
                      </a:cubicBezTo>
                      <a:cubicBezTo>
                        <a:pt x="2456213" y="159135"/>
                        <a:pt x="2501103" y="178015"/>
                        <a:pt x="2536117" y="196895"/>
                      </a:cubicBezTo>
                      <a:cubicBezTo>
                        <a:pt x="2570233" y="215776"/>
                        <a:pt x="2595371" y="232858"/>
                        <a:pt x="2611531" y="245445"/>
                      </a:cubicBezTo>
                      <a:lnTo>
                        <a:pt x="2618913" y="250957"/>
                      </a:lnTo>
                      <a:lnTo>
                        <a:pt x="2618913" y="260754"/>
                      </a:lnTo>
                      <a:lnTo>
                        <a:pt x="2606144" y="258032"/>
                      </a:lnTo>
                      <a:cubicBezTo>
                        <a:pt x="2586393" y="253536"/>
                        <a:pt x="2556766" y="249041"/>
                        <a:pt x="2520854" y="243647"/>
                      </a:cubicBezTo>
                      <a:cubicBezTo>
                        <a:pt x="2484045" y="239151"/>
                        <a:pt x="2440951" y="237353"/>
                        <a:pt x="2392470" y="240050"/>
                      </a:cubicBezTo>
                      <a:cubicBezTo>
                        <a:pt x="2343990" y="243647"/>
                        <a:pt x="2291020" y="254435"/>
                        <a:pt x="2231766" y="270619"/>
                      </a:cubicBezTo>
                      <a:cubicBezTo>
                        <a:pt x="2173409" y="285903"/>
                        <a:pt x="2108769" y="306581"/>
                        <a:pt x="2040537" y="329058"/>
                      </a:cubicBezTo>
                      <a:cubicBezTo>
                        <a:pt x="1971407" y="350635"/>
                        <a:pt x="1897788" y="374910"/>
                        <a:pt x="1821476" y="398286"/>
                      </a:cubicBezTo>
                      <a:cubicBezTo>
                        <a:pt x="1782871" y="410873"/>
                        <a:pt x="1744266" y="422560"/>
                        <a:pt x="1704763" y="433349"/>
                      </a:cubicBezTo>
                      <a:cubicBezTo>
                        <a:pt x="1685012" y="439643"/>
                        <a:pt x="1664363" y="445037"/>
                        <a:pt x="1644611" y="451330"/>
                      </a:cubicBezTo>
                      <a:cubicBezTo>
                        <a:pt x="1622166" y="456725"/>
                        <a:pt x="1598824" y="462119"/>
                        <a:pt x="1575481" y="467514"/>
                      </a:cubicBezTo>
                      <a:cubicBezTo>
                        <a:pt x="1481213" y="486394"/>
                        <a:pt x="1382456" y="488192"/>
                        <a:pt x="1288189" y="478302"/>
                      </a:cubicBezTo>
                      <a:cubicBezTo>
                        <a:pt x="1193023" y="467514"/>
                        <a:pt x="1102346" y="445037"/>
                        <a:pt x="1017954" y="416267"/>
                      </a:cubicBezTo>
                      <a:cubicBezTo>
                        <a:pt x="975758" y="402781"/>
                        <a:pt x="935357" y="386598"/>
                        <a:pt x="895854" y="370415"/>
                      </a:cubicBezTo>
                      <a:cubicBezTo>
                        <a:pt x="856351" y="354232"/>
                        <a:pt x="817746" y="338048"/>
                        <a:pt x="780937" y="320966"/>
                      </a:cubicBezTo>
                      <a:cubicBezTo>
                        <a:pt x="707318" y="287701"/>
                        <a:pt x="639086" y="253536"/>
                        <a:pt x="574445" y="223867"/>
                      </a:cubicBezTo>
                      <a:cubicBezTo>
                        <a:pt x="508907" y="193299"/>
                        <a:pt x="448755" y="167226"/>
                        <a:pt x="391296" y="145649"/>
                      </a:cubicBezTo>
                      <a:cubicBezTo>
                        <a:pt x="333838" y="124071"/>
                        <a:pt x="280868" y="108787"/>
                        <a:pt x="232387" y="97099"/>
                      </a:cubicBezTo>
                      <a:cubicBezTo>
                        <a:pt x="183907" y="86310"/>
                        <a:pt x="139915" y="80916"/>
                        <a:pt x="103106" y="78219"/>
                      </a:cubicBezTo>
                      <a:cubicBezTo>
                        <a:pt x="67194" y="75522"/>
                        <a:pt x="37567" y="73723"/>
                        <a:pt x="16918" y="75522"/>
                      </a:cubicBezTo>
                      <a:lnTo>
                        <a:pt x="0" y="75847"/>
                      </a:lnTo>
                      <a:lnTo>
                        <a:pt x="0" y="68854"/>
                      </a:lnTo>
                      <a:lnTo>
                        <a:pt x="13327" y="62036"/>
                      </a:lnTo>
                      <a:cubicBezTo>
                        <a:pt x="23202" y="57540"/>
                        <a:pt x="33976" y="51247"/>
                        <a:pt x="48340" y="46751"/>
                      </a:cubicBezTo>
                      <a:cubicBezTo>
                        <a:pt x="62705" y="41357"/>
                        <a:pt x="78865" y="33266"/>
                        <a:pt x="97719" y="28770"/>
                      </a:cubicBezTo>
                      <a:cubicBezTo>
                        <a:pt x="135426" y="17082"/>
                        <a:pt x="182111" y="8092"/>
                        <a:pt x="237774" y="2697"/>
                      </a:cubicBezTo>
                      <a:cubicBezTo>
                        <a:pt x="259321" y="899"/>
                        <a:pt x="280868" y="0"/>
                        <a:pt x="304211"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17" name="Freeform: Shape 10">
                  <a:extLst>
                    <a:ext uri="{FF2B5EF4-FFF2-40B4-BE49-F238E27FC236}">
                      <a16:creationId xmlns:a16="http://schemas.microsoft.com/office/drawing/2014/main" id="{3CEF5644-C765-41FE-BA01-A9D98B4855B5}"/>
                    </a:ext>
                  </a:extLst>
                </p:cNvPr>
                <p:cNvSpPr/>
                <p:nvPr/>
              </p:nvSpPr>
              <p:spPr>
                <a:xfrm>
                  <a:off x="410444" y="1394507"/>
                  <a:ext cx="2618913" cy="953269"/>
                </a:xfrm>
                <a:custGeom>
                  <a:avLst/>
                  <a:gdLst>
                    <a:gd name="connsiteX0" fmla="*/ 125760 w 2618913"/>
                    <a:gd name="connsiteY0" fmla="*/ 0 h 1653709"/>
                    <a:gd name="connsiteX1" fmla="*/ 2493153 w 2618913"/>
                    <a:gd name="connsiteY1" fmla="*/ 0 h 1653709"/>
                    <a:gd name="connsiteX2" fmla="*/ 2618913 w 2618913"/>
                    <a:gd name="connsiteY2" fmla="*/ 125760 h 1653709"/>
                    <a:gd name="connsiteX3" fmla="*/ 2618913 w 2618913"/>
                    <a:gd name="connsiteY3" fmla="*/ 1653709 h 1653709"/>
                    <a:gd name="connsiteX4" fmla="*/ 2611531 w 2618913"/>
                    <a:gd name="connsiteY4" fmla="*/ 1648197 h 1653709"/>
                    <a:gd name="connsiteX5" fmla="*/ 2536117 w 2618913"/>
                    <a:gd name="connsiteY5" fmla="*/ 1599647 h 1653709"/>
                    <a:gd name="connsiteX6" fmla="*/ 2400550 w 2618913"/>
                    <a:gd name="connsiteY6" fmla="*/ 1547502 h 1653709"/>
                    <a:gd name="connsiteX7" fmla="*/ 2212912 w 2618913"/>
                    <a:gd name="connsiteY7" fmla="*/ 1531318 h 1653709"/>
                    <a:gd name="connsiteX8" fmla="*/ 1999238 w 2618913"/>
                    <a:gd name="connsiteY8" fmla="*/ 1550199 h 1653709"/>
                    <a:gd name="connsiteX9" fmla="*/ 1769404 w 2618913"/>
                    <a:gd name="connsiteY9" fmla="*/ 1588858 h 1653709"/>
                    <a:gd name="connsiteX10" fmla="*/ 1649998 w 2618913"/>
                    <a:gd name="connsiteY10" fmla="*/ 1612234 h 1653709"/>
                    <a:gd name="connsiteX11" fmla="*/ 1588948 w 2618913"/>
                    <a:gd name="connsiteY11" fmla="*/ 1624821 h 1653709"/>
                    <a:gd name="connsiteX12" fmla="*/ 1535081 w 2618913"/>
                    <a:gd name="connsiteY12" fmla="*/ 1634711 h 1653709"/>
                    <a:gd name="connsiteX13" fmla="*/ 1315122 w 2618913"/>
                    <a:gd name="connsiteY13" fmla="*/ 1635610 h 1653709"/>
                    <a:gd name="connsiteX14" fmla="*/ 1087981 w 2618913"/>
                    <a:gd name="connsiteY14" fmla="*/ 1590657 h 1653709"/>
                    <a:gd name="connsiteX15" fmla="*/ 973962 w 2618913"/>
                    <a:gd name="connsiteY15" fmla="*/ 1556492 h 1653709"/>
                    <a:gd name="connsiteX16" fmla="*/ 859943 w 2618913"/>
                    <a:gd name="connsiteY16" fmla="*/ 1519631 h 1653709"/>
                    <a:gd name="connsiteX17" fmla="*/ 636393 w 2618913"/>
                    <a:gd name="connsiteY17" fmla="*/ 1452201 h 1653709"/>
                    <a:gd name="connsiteX18" fmla="*/ 423617 w 2618913"/>
                    <a:gd name="connsiteY18" fmla="*/ 1409945 h 1653709"/>
                    <a:gd name="connsiteX19" fmla="*/ 304211 w 2618913"/>
                    <a:gd name="connsiteY19" fmla="*/ 1402752 h 1653709"/>
                    <a:gd name="connsiteX20" fmla="*/ 237774 w 2618913"/>
                    <a:gd name="connsiteY20" fmla="*/ 1405449 h 1653709"/>
                    <a:gd name="connsiteX21" fmla="*/ 97719 w 2618913"/>
                    <a:gd name="connsiteY21" fmla="*/ 1431522 h 1653709"/>
                    <a:gd name="connsiteX22" fmla="*/ 48340 w 2618913"/>
                    <a:gd name="connsiteY22" fmla="*/ 1449503 h 1653709"/>
                    <a:gd name="connsiteX23" fmla="*/ 13327 w 2618913"/>
                    <a:gd name="connsiteY23" fmla="*/ 1464788 h 1653709"/>
                    <a:gd name="connsiteX24" fmla="*/ 0 w 2618913"/>
                    <a:gd name="connsiteY24" fmla="*/ 1471606 h 1653709"/>
                    <a:gd name="connsiteX25" fmla="*/ 0 w 2618913"/>
                    <a:gd name="connsiteY25" fmla="*/ 125760 h 1653709"/>
                    <a:gd name="connsiteX26" fmla="*/ 125760 w 2618913"/>
                    <a:gd name="connsiteY26" fmla="*/ 0 h 1653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18913" h="1653709">
                      <a:moveTo>
                        <a:pt x="125760" y="0"/>
                      </a:moveTo>
                      <a:lnTo>
                        <a:pt x="2493153" y="0"/>
                      </a:lnTo>
                      <a:cubicBezTo>
                        <a:pt x="2562608" y="0"/>
                        <a:pt x="2618913" y="56305"/>
                        <a:pt x="2618913" y="125760"/>
                      </a:cubicBezTo>
                      <a:lnTo>
                        <a:pt x="2618913" y="1653709"/>
                      </a:lnTo>
                      <a:lnTo>
                        <a:pt x="2611531" y="1648197"/>
                      </a:lnTo>
                      <a:cubicBezTo>
                        <a:pt x="2595371" y="1635610"/>
                        <a:pt x="2570233" y="1618528"/>
                        <a:pt x="2536117" y="1599647"/>
                      </a:cubicBezTo>
                      <a:cubicBezTo>
                        <a:pt x="2501103" y="1580767"/>
                        <a:pt x="2456213" y="1561887"/>
                        <a:pt x="2400550" y="1547502"/>
                      </a:cubicBezTo>
                      <a:cubicBezTo>
                        <a:pt x="2345785" y="1534915"/>
                        <a:pt x="2281144" y="1530419"/>
                        <a:pt x="2212912" y="1531318"/>
                      </a:cubicBezTo>
                      <a:cubicBezTo>
                        <a:pt x="2144680" y="1532217"/>
                        <a:pt x="2072857" y="1540309"/>
                        <a:pt x="1999238" y="1550199"/>
                      </a:cubicBezTo>
                      <a:cubicBezTo>
                        <a:pt x="1924722" y="1560987"/>
                        <a:pt x="1847512" y="1574473"/>
                        <a:pt x="1769404" y="1588858"/>
                      </a:cubicBezTo>
                      <a:cubicBezTo>
                        <a:pt x="1729901" y="1596051"/>
                        <a:pt x="1690398" y="1604143"/>
                        <a:pt x="1649998" y="1612234"/>
                      </a:cubicBezTo>
                      <a:cubicBezTo>
                        <a:pt x="1629349" y="1616729"/>
                        <a:pt x="1608700" y="1620326"/>
                        <a:pt x="1588948" y="1624821"/>
                      </a:cubicBezTo>
                      <a:cubicBezTo>
                        <a:pt x="1570992" y="1627518"/>
                        <a:pt x="1553037" y="1631115"/>
                        <a:pt x="1535081" y="1634711"/>
                      </a:cubicBezTo>
                      <a:cubicBezTo>
                        <a:pt x="1463258" y="1643701"/>
                        <a:pt x="1389639" y="1644600"/>
                        <a:pt x="1315122" y="1635610"/>
                      </a:cubicBezTo>
                      <a:cubicBezTo>
                        <a:pt x="1239708" y="1628417"/>
                        <a:pt x="1164294" y="1610436"/>
                        <a:pt x="1087981" y="1590657"/>
                      </a:cubicBezTo>
                      <a:cubicBezTo>
                        <a:pt x="1050274" y="1579868"/>
                        <a:pt x="1011669" y="1568180"/>
                        <a:pt x="973962" y="1556492"/>
                      </a:cubicBezTo>
                      <a:cubicBezTo>
                        <a:pt x="935357" y="1543905"/>
                        <a:pt x="897650" y="1532217"/>
                        <a:pt x="859943" y="1519631"/>
                      </a:cubicBezTo>
                      <a:cubicBezTo>
                        <a:pt x="784528" y="1495356"/>
                        <a:pt x="709114" y="1471980"/>
                        <a:pt x="636393" y="1452201"/>
                      </a:cubicBezTo>
                      <a:cubicBezTo>
                        <a:pt x="562774" y="1433320"/>
                        <a:pt x="490951" y="1418036"/>
                        <a:pt x="423617" y="1409945"/>
                      </a:cubicBezTo>
                      <a:cubicBezTo>
                        <a:pt x="382318" y="1405449"/>
                        <a:pt x="341918" y="1402752"/>
                        <a:pt x="304211" y="1402752"/>
                      </a:cubicBezTo>
                      <a:cubicBezTo>
                        <a:pt x="280868" y="1402752"/>
                        <a:pt x="259321" y="1403651"/>
                        <a:pt x="237774" y="1405449"/>
                      </a:cubicBezTo>
                      <a:cubicBezTo>
                        <a:pt x="182111" y="1410844"/>
                        <a:pt x="135426" y="1419834"/>
                        <a:pt x="97719" y="1431522"/>
                      </a:cubicBezTo>
                      <a:cubicBezTo>
                        <a:pt x="78865" y="1436018"/>
                        <a:pt x="62705" y="1444109"/>
                        <a:pt x="48340" y="1449503"/>
                      </a:cubicBezTo>
                      <a:cubicBezTo>
                        <a:pt x="33976" y="1453999"/>
                        <a:pt x="23202" y="1460292"/>
                        <a:pt x="13327" y="1464788"/>
                      </a:cubicBezTo>
                      <a:lnTo>
                        <a:pt x="0" y="1471606"/>
                      </a:lnTo>
                      <a:lnTo>
                        <a:pt x="0" y="125760"/>
                      </a:lnTo>
                      <a:cubicBezTo>
                        <a:pt x="0" y="56305"/>
                        <a:pt x="56305" y="0"/>
                        <a:pt x="12576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68580" rIns="68580" bIns="34290" numCol="1" spcCol="0" rtlCol="0" fromWordArt="0" anchor="t" anchorCtr="0" forceAA="0" compatLnSpc="1">
                  <a:prstTxWarp prst="textNoShape">
                    <a:avLst/>
                  </a:prstTxWarp>
                  <a:noAutofit/>
                </a:bodyPr>
                <a:lstStyle/>
                <a:p>
                  <a:pPr algn="ctr"/>
                  <a:r>
                    <a:rPr lang="en-US" dirty="0"/>
                    <a:t>Confluent Open</a:t>
                  </a:r>
                </a:p>
              </p:txBody>
            </p:sp>
            <p:sp>
              <p:nvSpPr>
                <p:cNvPr id="18" name="Freeform: Shape 15">
                  <a:extLst>
                    <a:ext uri="{FF2B5EF4-FFF2-40B4-BE49-F238E27FC236}">
                      <a16:creationId xmlns:a16="http://schemas.microsoft.com/office/drawing/2014/main" id="{E390058D-4F56-4B28-B5D8-42927162D16C}"/>
                    </a:ext>
                  </a:extLst>
                </p:cNvPr>
                <p:cNvSpPr/>
                <p:nvPr/>
              </p:nvSpPr>
              <p:spPr>
                <a:xfrm>
                  <a:off x="410444" y="2529530"/>
                  <a:ext cx="636075" cy="220714"/>
                </a:xfrm>
                <a:custGeom>
                  <a:avLst/>
                  <a:gdLst>
                    <a:gd name="connsiteX0" fmla="*/ 477 w 636075"/>
                    <a:gd name="connsiteY0" fmla="*/ 356 h 220714"/>
                    <a:gd name="connsiteX1" fmla="*/ 26591 w 636075"/>
                    <a:gd name="connsiteY1" fmla="*/ 379 h 220714"/>
                    <a:gd name="connsiteX2" fmla="*/ 104805 w 636075"/>
                    <a:gd name="connsiteY2" fmla="*/ 2253 h 220714"/>
                    <a:gd name="connsiteX3" fmla="*/ 130729 w 636075"/>
                    <a:gd name="connsiteY3" fmla="*/ 4980 h 220714"/>
                    <a:gd name="connsiteX4" fmla="*/ 182513 w 636075"/>
                    <a:gd name="connsiteY4" fmla="*/ 11336 h 220714"/>
                    <a:gd name="connsiteX5" fmla="*/ 234044 w 636075"/>
                    <a:gd name="connsiteY5" fmla="*/ 21297 h 220714"/>
                    <a:gd name="connsiteX6" fmla="*/ 284552 w 636075"/>
                    <a:gd name="connsiteY6" fmla="*/ 32997 h 220714"/>
                    <a:gd name="connsiteX7" fmla="*/ 332182 w 636075"/>
                    <a:gd name="connsiteY7" fmla="*/ 47211 h 220714"/>
                    <a:gd name="connsiteX8" fmla="*/ 420725 w 636075"/>
                    <a:gd name="connsiteY8" fmla="*/ 81508 h 220714"/>
                    <a:gd name="connsiteX9" fmla="*/ 495510 w 636075"/>
                    <a:gd name="connsiteY9" fmla="*/ 119367 h 220714"/>
                    <a:gd name="connsiteX10" fmla="*/ 556791 w 636075"/>
                    <a:gd name="connsiteY10" fmla="*/ 157182 h 220714"/>
                    <a:gd name="connsiteX11" fmla="*/ 600402 w 636075"/>
                    <a:gd name="connsiteY11" fmla="*/ 190132 h 220714"/>
                    <a:gd name="connsiteX12" fmla="*/ 636075 w 636075"/>
                    <a:gd name="connsiteY12" fmla="*/ 220714 h 220714"/>
                    <a:gd name="connsiteX13" fmla="*/ 591197 w 636075"/>
                    <a:gd name="connsiteY13" fmla="*/ 205787 h 220714"/>
                    <a:gd name="connsiteX14" fmla="*/ 540236 w 636075"/>
                    <a:gd name="connsiteY14" fmla="*/ 187716 h 220714"/>
                    <a:gd name="connsiteX15" fmla="*/ 475065 w 636075"/>
                    <a:gd name="connsiteY15" fmla="*/ 166835 h 220714"/>
                    <a:gd name="connsiteX16" fmla="*/ 398243 w 636075"/>
                    <a:gd name="connsiteY16" fmla="*/ 145135 h 220714"/>
                    <a:gd name="connsiteX17" fmla="*/ 311438 w 636075"/>
                    <a:gd name="connsiteY17" fmla="*/ 124545 h 220714"/>
                    <a:gd name="connsiteX18" fmla="*/ 265284 w 636075"/>
                    <a:gd name="connsiteY18" fmla="*/ 114962 h 220714"/>
                    <a:gd name="connsiteX19" fmla="*/ 218107 w 636075"/>
                    <a:gd name="connsiteY19" fmla="*/ 107119 h 220714"/>
                    <a:gd name="connsiteX20" fmla="*/ 194998 w 636075"/>
                    <a:gd name="connsiteY20" fmla="*/ 102778 h 220714"/>
                    <a:gd name="connsiteX21" fmla="*/ 169971 w 636075"/>
                    <a:gd name="connsiteY21" fmla="*/ 100113 h 220714"/>
                    <a:gd name="connsiteX22" fmla="*/ 121771 w 636075"/>
                    <a:gd name="connsiteY22" fmla="*/ 94009 h 220714"/>
                    <a:gd name="connsiteX23" fmla="*/ 24992 w 636075"/>
                    <a:gd name="connsiteY23" fmla="*/ 87209 h 220714"/>
                    <a:gd name="connsiteX24" fmla="*/ 0 w 636075"/>
                    <a:gd name="connsiteY24" fmla="*/ 86640 h 220714"/>
                    <a:gd name="connsiteX25" fmla="*/ 0 w 636075"/>
                    <a:gd name="connsiteY25" fmla="*/ 373 h 220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36075" h="220714">
                      <a:moveTo>
                        <a:pt x="477" y="356"/>
                      </a:moveTo>
                      <a:cubicBezTo>
                        <a:pt x="8605" y="21"/>
                        <a:pt x="17630" y="-250"/>
                        <a:pt x="26591" y="379"/>
                      </a:cubicBezTo>
                      <a:cubicBezTo>
                        <a:pt x="51872" y="-561"/>
                        <a:pt x="78818" y="427"/>
                        <a:pt x="104805" y="2253"/>
                      </a:cubicBezTo>
                      <a:cubicBezTo>
                        <a:pt x="113766" y="2883"/>
                        <a:pt x="121768" y="4351"/>
                        <a:pt x="130729" y="4980"/>
                      </a:cubicBezTo>
                      <a:cubicBezTo>
                        <a:pt x="148651" y="6240"/>
                        <a:pt x="165550" y="9239"/>
                        <a:pt x="182513" y="11336"/>
                      </a:cubicBezTo>
                      <a:cubicBezTo>
                        <a:pt x="200372" y="13497"/>
                        <a:pt x="217208" y="17397"/>
                        <a:pt x="234044" y="21297"/>
                      </a:cubicBezTo>
                      <a:cubicBezTo>
                        <a:pt x="250880" y="25197"/>
                        <a:pt x="267779" y="28196"/>
                        <a:pt x="284552" y="32997"/>
                      </a:cubicBezTo>
                      <a:cubicBezTo>
                        <a:pt x="300428" y="37735"/>
                        <a:pt x="316305" y="42473"/>
                        <a:pt x="332182" y="47211"/>
                      </a:cubicBezTo>
                      <a:cubicBezTo>
                        <a:pt x="363935" y="56688"/>
                        <a:pt x="392683" y="70481"/>
                        <a:pt x="420725" y="81508"/>
                      </a:cubicBezTo>
                      <a:cubicBezTo>
                        <a:pt x="447808" y="93373"/>
                        <a:pt x="472908" y="107816"/>
                        <a:pt x="495510" y="119367"/>
                      </a:cubicBezTo>
                      <a:cubicBezTo>
                        <a:pt x="518882" y="132782"/>
                        <a:pt x="538669" y="145946"/>
                        <a:pt x="556791" y="157182"/>
                      </a:cubicBezTo>
                      <a:cubicBezTo>
                        <a:pt x="574912" y="168417"/>
                        <a:pt x="587531" y="181077"/>
                        <a:pt x="600402" y="190132"/>
                      </a:cubicBezTo>
                      <a:cubicBezTo>
                        <a:pt x="623394" y="208955"/>
                        <a:pt x="636075" y="220714"/>
                        <a:pt x="636075" y="220714"/>
                      </a:cubicBezTo>
                      <a:cubicBezTo>
                        <a:pt x="636075" y="220714"/>
                        <a:pt x="620199" y="215976"/>
                        <a:pt x="591197" y="205787"/>
                      </a:cubicBezTo>
                      <a:cubicBezTo>
                        <a:pt x="577113" y="201175"/>
                        <a:pt x="560530" y="193670"/>
                        <a:pt x="540236" y="187716"/>
                      </a:cubicBezTo>
                      <a:cubicBezTo>
                        <a:pt x="520839" y="181824"/>
                        <a:pt x="498816" y="174843"/>
                        <a:pt x="475065" y="166835"/>
                      </a:cubicBezTo>
                      <a:cubicBezTo>
                        <a:pt x="451186" y="160628"/>
                        <a:pt x="425643" y="152494"/>
                        <a:pt x="398243" y="145135"/>
                      </a:cubicBezTo>
                      <a:cubicBezTo>
                        <a:pt x="369885" y="138614"/>
                        <a:pt x="341716" y="129389"/>
                        <a:pt x="311438" y="124545"/>
                      </a:cubicBezTo>
                      <a:cubicBezTo>
                        <a:pt x="296394" y="120771"/>
                        <a:pt x="281287" y="117898"/>
                        <a:pt x="265284" y="114962"/>
                      </a:cubicBezTo>
                      <a:cubicBezTo>
                        <a:pt x="250177" y="112089"/>
                        <a:pt x="234174" y="109153"/>
                        <a:pt x="218107" y="107119"/>
                      </a:cubicBezTo>
                      <a:lnTo>
                        <a:pt x="194998" y="102778"/>
                      </a:lnTo>
                      <a:lnTo>
                        <a:pt x="169971" y="100113"/>
                      </a:lnTo>
                      <a:cubicBezTo>
                        <a:pt x="153904" y="98079"/>
                        <a:pt x="137901" y="95143"/>
                        <a:pt x="121771" y="94009"/>
                      </a:cubicBezTo>
                      <a:cubicBezTo>
                        <a:pt x="89511" y="91743"/>
                        <a:pt x="56419" y="88512"/>
                        <a:pt x="24992" y="87209"/>
                      </a:cubicBezTo>
                      <a:lnTo>
                        <a:pt x="0" y="86640"/>
                      </a:lnTo>
                      <a:lnTo>
                        <a:pt x="0" y="3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19" name="Freeform 11">
                  <a:extLst>
                    <a:ext uri="{FF2B5EF4-FFF2-40B4-BE49-F238E27FC236}">
                      <a16:creationId xmlns:a16="http://schemas.microsoft.com/office/drawing/2014/main" id="{54A41A65-DDBC-495F-839A-96EB9E63147D}"/>
                    </a:ext>
                  </a:extLst>
                </p:cNvPr>
                <p:cNvSpPr>
                  <a:spLocks/>
                </p:cNvSpPr>
                <p:nvPr/>
              </p:nvSpPr>
              <p:spPr bwMode="auto">
                <a:xfrm>
                  <a:off x="924932" y="1957818"/>
                  <a:ext cx="2102175" cy="302296"/>
                </a:xfrm>
                <a:custGeom>
                  <a:avLst/>
                  <a:gdLst>
                    <a:gd name="T0" fmla="*/ 1690 w 2341"/>
                    <a:gd name="T1" fmla="*/ 0 h 337"/>
                    <a:gd name="T2" fmla="*/ 945 w 2341"/>
                    <a:gd name="T3" fmla="*/ 121 h 337"/>
                    <a:gd name="T4" fmla="*/ 945 w 2341"/>
                    <a:gd name="T5" fmla="*/ 121 h 337"/>
                    <a:gd name="T6" fmla="*/ 627 w 2341"/>
                    <a:gd name="T7" fmla="*/ 85 h 337"/>
                    <a:gd name="T8" fmla="*/ 627 w 2341"/>
                    <a:gd name="T9" fmla="*/ 85 h 337"/>
                    <a:gd name="T10" fmla="*/ 0 w 2341"/>
                    <a:gd name="T11" fmla="*/ 101 h 337"/>
                    <a:gd name="T12" fmla="*/ 0 w 2341"/>
                    <a:gd name="T13" fmla="*/ 101 h 337"/>
                    <a:gd name="T14" fmla="*/ 1027 w 2341"/>
                    <a:gd name="T15" fmla="*/ 335 h 337"/>
                    <a:gd name="T16" fmla="*/ 1027 w 2341"/>
                    <a:gd name="T17" fmla="*/ 335 h 337"/>
                    <a:gd name="T18" fmla="*/ 1533 w 2341"/>
                    <a:gd name="T19" fmla="*/ 271 h 337"/>
                    <a:gd name="T20" fmla="*/ 1533 w 2341"/>
                    <a:gd name="T21" fmla="*/ 271 h 337"/>
                    <a:gd name="T22" fmla="*/ 2341 w 2341"/>
                    <a:gd name="T23" fmla="*/ 311 h 337"/>
                    <a:gd name="T24" fmla="*/ 2341 w 2341"/>
                    <a:gd name="T25" fmla="*/ 311 h 337"/>
                    <a:gd name="T26" fmla="*/ 1701 w 2341"/>
                    <a:gd name="T27" fmla="*/ 0 h 337"/>
                    <a:gd name="T28" fmla="*/ 1701 w 2341"/>
                    <a:gd name="T29" fmla="*/ 0 h 337"/>
                    <a:gd name="T30" fmla="*/ 1690 w 2341"/>
                    <a:gd name="T31" fmla="*/ 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41" h="337">
                      <a:moveTo>
                        <a:pt x="1690" y="0"/>
                      </a:moveTo>
                      <a:cubicBezTo>
                        <a:pt x="1336" y="7"/>
                        <a:pt x="1299" y="114"/>
                        <a:pt x="945" y="121"/>
                      </a:cubicBezTo>
                      <a:lnTo>
                        <a:pt x="945" y="121"/>
                      </a:lnTo>
                      <a:cubicBezTo>
                        <a:pt x="816" y="123"/>
                        <a:pt x="720" y="104"/>
                        <a:pt x="627" y="85"/>
                      </a:cubicBezTo>
                      <a:lnTo>
                        <a:pt x="627" y="85"/>
                      </a:lnTo>
                      <a:cubicBezTo>
                        <a:pt x="464" y="52"/>
                        <a:pt x="310" y="19"/>
                        <a:pt x="0" y="101"/>
                      </a:cubicBezTo>
                      <a:lnTo>
                        <a:pt x="0" y="101"/>
                      </a:lnTo>
                      <a:cubicBezTo>
                        <a:pt x="415" y="129"/>
                        <a:pt x="652" y="331"/>
                        <a:pt x="1027" y="335"/>
                      </a:cubicBezTo>
                      <a:lnTo>
                        <a:pt x="1027" y="335"/>
                      </a:lnTo>
                      <a:cubicBezTo>
                        <a:pt x="1230" y="337"/>
                        <a:pt x="1390" y="304"/>
                        <a:pt x="1533" y="271"/>
                      </a:cubicBezTo>
                      <a:lnTo>
                        <a:pt x="1533" y="271"/>
                      </a:lnTo>
                      <a:cubicBezTo>
                        <a:pt x="1799" y="210"/>
                        <a:pt x="2009" y="149"/>
                        <a:pt x="2341" y="311"/>
                      </a:cubicBezTo>
                      <a:lnTo>
                        <a:pt x="2341" y="311"/>
                      </a:lnTo>
                      <a:cubicBezTo>
                        <a:pt x="2341" y="311"/>
                        <a:pt x="2050" y="0"/>
                        <a:pt x="1701" y="0"/>
                      </a:cubicBezTo>
                      <a:lnTo>
                        <a:pt x="1701" y="0"/>
                      </a:lnTo>
                      <a:cubicBezTo>
                        <a:pt x="1697" y="0"/>
                        <a:pt x="1694" y="0"/>
                        <a:pt x="1690" y="0"/>
                      </a:cubicBezTo>
                      <a:close/>
                    </a:path>
                  </a:pathLst>
                </a:custGeom>
                <a:solidFill>
                  <a:schemeClr val="bg1">
                    <a:alpha val="30000"/>
                  </a:schemeClr>
                </a:solidFill>
                <a:ln>
                  <a:noFill/>
                </a:ln>
              </p:spPr>
              <p:txBody>
                <a:bodyPr vert="horz" wrap="square" lIns="68580" tIns="34290" rIns="68580" bIns="34290" numCol="1" anchor="t" anchorCtr="0" compatLnSpc="1">
                  <a:prstTxWarp prst="textNoShape">
                    <a:avLst/>
                  </a:prstTxWarp>
                </a:bodyPr>
                <a:lstStyle/>
                <a:p>
                  <a:endParaRPr lang="en-US" sz="1350"/>
                </a:p>
              </p:txBody>
            </p:sp>
          </p:grpSp>
        </p:grpSp>
      </p:grpSp>
      <p:grpSp>
        <p:nvGrpSpPr>
          <p:cNvPr id="20" name="Group 19"/>
          <p:cNvGrpSpPr/>
          <p:nvPr/>
        </p:nvGrpSpPr>
        <p:grpSpPr>
          <a:xfrm>
            <a:off x="4758181" y="1775926"/>
            <a:ext cx="2824119" cy="3067166"/>
            <a:chOff x="307833" y="1586799"/>
            <a:chExt cx="1964185" cy="3135122"/>
          </a:xfrm>
        </p:grpSpPr>
        <p:sp>
          <p:nvSpPr>
            <p:cNvPr id="21" name="Rectangle: Rounded Corners 32">
              <a:extLst>
                <a:ext uri="{FF2B5EF4-FFF2-40B4-BE49-F238E27FC236}">
                  <a16:creationId xmlns:a16="http://schemas.microsoft.com/office/drawing/2014/main" id="{4B8AD345-C599-4F6B-B754-008805CA7CEA}"/>
                </a:ext>
              </a:extLst>
            </p:cNvPr>
            <p:cNvSpPr/>
            <p:nvPr/>
          </p:nvSpPr>
          <p:spPr>
            <a:xfrm>
              <a:off x="307833" y="1621006"/>
              <a:ext cx="1964185" cy="3100915"/>
            </a:xfrm>
            <a:prstGeom prst="roundRect">
              <a:avLst>
                <a:gd name="adj" fmla="val 4802"/>
              </a:avLst>
            </a:prstGeom>
            <a:solidFill>
              <a:schemeClr val="accent1">
                <a:lumMod val="60000"/>
                <a:lumOff val="40000"/>
              </a:schemeClr>
            </a:solidFill>
            <a:ln>
              <a:noFill/>
            </a:ln>
            <a:effectLst>
              <a:outerShdw blurRad="177800" sx="106000" sy="106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grpSp>
          <p:nvGrpSpPr>
            <p:cNvPr id="22" name="Group 21"/>
            <p:cNvGrpSpPr/>
            <p:nvPr/>
          </p:nvGrpSpPr>
          <p:grpSpPr>
            <a:xfrm>
              <a:off x="307833" y="1586799"/>
              <a:ext cx="1964185" cy="3133216"/>
              <a:chOff x="307833" y="1586799"/>
              <a:chExt cx="1964185" cy="3133216"/>
            </a:xfrm>
          </p:grpSpPr>
          <p:sp>
            <p:nvSpPr>
              <p:cNvPr id="23" name="Freeform: Shape 16">
                <a:extLst>
                  <a:ext uri="{FF2B5EF4-FFF2-40B4-BE49-F238E27FC236}">
                    <a16:creationId xmlns:a16="http://schemas.microsoft.com/office/drawing/2014/main" id="{DDFCADFD-8EEC-48A1-B60B-A6A44A77B21C}"/>
                  </a:ext>
                </a:extLst>
              </p:cNvPr>
              <p:cNvSpPr/>
              <p:nvPr/>
            </p:nvSpPr>
            <p:spPr>
              <a:xfrm>
                <a:off x="307833" y="2367311"/>
                <a:ext cx="1964185" cy="2352704"/>
              </a:xfrm>
              <a:custGeom>
                <a:avLst/>
                <a:gdLst>
                  <a:gd name="connsiteX0" fmla="*/ 54288 w 2618913"/>
                  <a:gd name="connsiteY0" fmla="*/ 386 h 2748221"/>
                  <a:gd name="connsiteX1" fmla="*/ 103106 w 2618913"/>
                  <a:gd name="connsiteY1" fmla="*/ 3421 h 2748221"/>
                  <a:gd name="connsiteX2" fmla="*/ 232387 w 2618913"/>
                  <a:gd name="connsiteY2" fmla="*/ 22301 h 2748221"/>
                  <a:gd name="connsiteX3" fmla="*/ 391296 w 2618913"/>
                  <a:gd name="connsiteY3" fmla="*/ 70851 h 2748221"/>
                  <a:gd name="connsiteX4" fmla="*/ 574445 w 2618913"/>
                  <a:gd name="connsiteY4" fmla="*/ 149069 h 2748221"/>
                  <a:gd name="connsiteX5" fmla="*/ 780937 w 2618913"/>
                  <a:gd name="connsiteY5" fmla="*/ 246168 h 2748221"/>
                  <a:gd name="connsiteX6" fmla="*/ 895854 w 2618913"/>
                  <a:gd name="connsiteY6" fmla="*/ 295617 h 2748221"/>
                  <a:gd name="connsiteX7" fmla="*/ 1017954 w 2618913"/>
                  <a:gd name="connsiteY7" fmla="*/ 341469 h 2748221"/>
                  <a:gd name="connsiteX8" fmla="*/ 1288189 w 2618913"/>
                  <a:gd name="connsiteY8" fmla="*/ 403504 h 2748221"/>
                  <a:gd name="connsiteX9" fmla="*/ 1575481 w 2618913"/>
                  <a:gd name="connsiteY9" fmla="*/ 392716 h 2748221"/>
                  <a:gd name="connsiteX10" fmla="*/ 1644611 w 2618913"/>
                  <a:gd name="connsiteY10" fmla="*/ 376532 h 2748221"/>
                  <a:gd name="connsiteX11" fmla="*/ 1704763 w 2618913"/>
                  <a:gd name="connsiteY11" fmla="*/ 358551 h 2748221"/>
                  <a:gd name="connsiteX12" fmla="*/ 1821476 w 2618913"/>
                  <a:gd name="connsiteY12" fmla="*/ 323488 h 2748221"/>
                  <a:gd name="connsiteX13" fmla="*/ 2040537 w 2618913"/>
                  <a:gd name="connsiteY13" fmla="*/ 254260 h 2748221"/>
                  <a:gd name="connsiteX14" fmla="*/ 2231766 w 2618913"/>
                  <a:gd name="connsiteY14" fmla="*/ 195821 h 2748221"/>
                  <a:gd name="connsiteX15" fmla="*/ 2392470 w 2618913"/>
                  <a:gd name="connsiteY15" fmla="*/ 165252 h 2748221"/>
                  <a:gd name="connsiteX16" fmla="*/ 2520854 w 2618913"/>
                  <a:gd name="connsiteY16" fmla="*/ 168849 h 2748221"/>
                  <a:gd name="connsiteX17" fmla="*/ 2606144 w 2618913"/>
                  <a:gd name="connsiteY17" fmla="*/ 183234 h 2748221"/>
                  <a:gd name="connsiteX18" fmla="*/ 2618913 w 2618913"/>
                  <a:gd name="connsiteY18" fmla="*/ 185956 h 2748221"/>
                  <a:gd name="connsiteX19" fmla="*/ 2618913 w 2618913"/>
                  <a:gd name="connsiteY19" fmla="*/ 2622461 h 2748221"/>
                  <a:gd name="connsiteX20" fmla="*/ 2493153 w 2618913"/>
                  <a:gd name="connsiteY20" fmla="*/ 2748221 h 2748221"/>
                  <a:gd name="connsiteX21" fmla="*/ 125760 w 2618913"/>
                  <a:gd name="connsiteY21" fmla="*/ 2748221 h 2748221"/>
                  <a:gd name="connsiteX22" fmla="*/ 0 w 2618913"/>
                  <a:gd name="connsiteY22" fmla="*/ 2622461 h 2748221"/>
                  <a:gd name="connsiteX23" fmla="*/ 0 w 2618913"/>
                  <a:gd name="connsiteY23" fmla="*/ 1049 h 2748221"/>
                  <a:gd name="connsiteX24" fmla="*/ 16918 w 2618913"/>
                  <a:gd name="connsiteY24" fmla="*/ 724 h 2748221"/>
                  <a:gd name="connsiteX25" fmla="*/ 54288 w 2618913"/>
                  <a:gd name="connsiteY25" fmla="*/ 386 h 274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618913" h="2748221">
                    <a:moveTo>
                      <a:pt x="54288" y="386"/>
                    </a:moveTo>
                    <a:cubicBezTo>
                      <a:pt x="68765" y="949"/>
                      <a:pt x="85150" y="2073"/>
                      <a:pt x="103106" y="3421"/>
                    </a:cubicBezTo>
                    <a:cubicBezTo>
                      <a:pt x="139915" y="6118"/>
                      <a:pt x="183907" y="11512"/>
                      <a:pt x="232387" y="22301"/>
                    </a:cubicBezTo>
                    <a:cubicBezTo>
                      <a:pt x="280868" y="33989"/>
                      <a:pt x="333838" y="49273"/>
                      <a:pt x="391296" y="70851"/>
                    </a:cubicBezTo>
                    <a:cubicBezTo>
                      <a:pt x="448755" y="92428"/>
                      <a:pt x="508907" y="118501"/>
                      <a:pt x="574445" y="149069"/>
                    </a:cubicBezTo>
                    <a:cubicBezTo>
                      <a:pt x="639086" y="178738"/>
                      <a:pt x="707318" y="212903"/>
                      <a:pt x="780937" y="246168"/>
                    </a:cubicBezTo>
                    <a:cubicBezTo>
                      <a:pt x="817746" y="263250"/>
                      <a:pt x="856351" y="279434"/>
                      <a:pt x="895854" y="295617"/>
                    </a:cubicBezTo>
                    <a:cubicBezTo>
                      <a:pt x="935357" y="311800"/>
                      <a:pt x="975758" y="327983"/>
                      <a:pt x="1017954" y="341469"/>
                    </a:cubicBezTo>
                    <a:cubicBezTo>
                      <a:pt x="1102346" y="370239"/>
                      <a:pt x="1193023" y="392716"/>
                      <a:pt x="1288189" y="403504"/>
                    </a:cubicBezTo>
                    <a:cubicBezTo>
                      <a:pt x="1382456" y="413394"/>
                      <a:pt x="1481213" y="411596"/>
                      <a:pt x="1575481" y="392716"/>
                    </a:cubicBezTo>
                    <a:cubicBezTo>
                      <a:pt x="1598824" y="387321"/>
                      <a:pt x="1622166" y="381927"/>
                      <a:pt x="1644611" y="376532"/>
                    </a:cubicBezTo>
                    <a:cubicBezTo>
                      <a:pt x="1664363" y="370239"/>
                      <a:pt x="1685012" y="364845"/>
                      <a:pt x="1704763" y="358551"/>
                    </a:cubicBezTo>
                    <a:cubicBezTo>
                      <a:pt x="1744266" y="347762"/>
                      <a:pt x="1782871" y="336075"/>
                      <a:pt x="1821476" y="323488"/>
                    </a:cubicBezTo>
                    <a:cubicBezTo>
                      <a:pt x="1897788" y="300112"/>
                      <a:pt x="1971407" y="275837"/>
                      <a:pt x="2040537" y="254260"/>
                    </a:cubicBezTo>
                    <a:cubicBezTo>
                      <a:pt x="2108769" y="231783"/>
                      <a:pt x="2173409" y="211105"/>
                      <a:pt x="2231766" y="195821"/>
                    </a:cubicBezTo>
                    <a:cubicBezTo>
                      <a:pt x="2291020" y="179637"/>
                      <a:pt x="2343990" y="168849"/>
                      <a:pt x="2392470" y="165252"/>
                    </a:cubicBezTo>
                    <a:cubicBezTo>
                      <a:pt x="2440951" y="162555"/>
                      <a:pt x="2484045" y="164353"/>
                      <a:pt x="2520854" y="168849"/>
                    </a:cubicBezTo>
                    <a:cubicBezTo>
                      <a:pt x="2556766" y="174243"/>
                      <a:pt x="2586393" y="178738"/>
                      <a:pt x="2606144" y="183234"/>
                    </a:cubicBezTo>
                    <a:lnTo>
                      <a:pt x="2618913" y="185956"/>
                    </a:lnTo>
                    <a:lnTo>
                      <a:pt x="2618913" y="2622461"/>
                    </a:lnTo>
                    <a:cubicBezTo>
                      <a:pt x="2618913" y="2691916"/>
                      <a:pt x="2562608" y="2748221"/>
                      <a:pt x="2493153" y="2748221"/>
                    </a:cubicBezTo>
                    <a:lnTo>
                      <a:pt x="125760" y="2748221"/>
                    </a:lnTo>
                    <a:cubicBezTo>
                      <a:pt x="56305" y="2748221"/>
                      <a:pt x="0" y="2691916"/>
                      <a:pt x="0" y="2622461"/>
                    </a:cubicBezTo>
                    <a:lnTo>
                      <a:pt x="0" y="1049"/>
                    </a:lnTo>
                    <a:lnTo>
                      <a:pt x="16918" y="724"/>
                    </a:lnTo>
                    <a:cubicBezTo>
                      <a:pt x="27243" y="-175"/>
                      <a:pt x="39812" y="-175"/>
                      <a:pt x="54288" y="38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grpSp>
            <p:nvGrpSpPr>
              <p:cNvPr id="24" name="Group 23">
                <a:extLst>
                  <a:ext uri="{FF2B5EF4-FFF2-40B4-BE49-F238E27FC236}">
                    <a16:creationId xmlns:a16="http://schemas.microsoft.com/office/drawing/2014/main" id="{E9482859-E011-4525-85BC-27C7F73F1A0C}"/>
                  </a:ext>
                </a:extLst>
              </p:cNvPr>
              <p:cNvGrpSpPr/>
              <p:nvPr/>
            </p:nvGrpSpPr>
            <p:grpSpPr>
              <a:xfrm>
                <a:off x="307833" y="1586799"/>
                <a:ext cx="1964185" cy="1016803"/>
                <a:chOff x="410444" y="1394507"/>
                <a:chExt cx="2618913" cy="1355737"/>
              </a:xfrm>
            </p:grpSpPr>
            <p:sp>
              <p:nvSpPr>
                <p:cNvPr id="25" name="Freeform: Shape 11">
                  <a:extLst>
                    <a:ext uri="{FF2B5EF4-FFF2-40B4-BE49-F238E27FC236}">
                      <a16:creationId xmlns:a16="http://schemas.microsoft.com/office/drawing/2014/main" id="{A0781E87-9BB5-4FA6-BD2D-348608651A7A}"/>
                    </a:ext>
                  </a:extLst>
                </p:cNvPr>
                <p:cNvSpPr/>
                <p:nvPr/>
              </p:nvSpPr>
              <p:spPr>
                <a:xfrm>
                  <a:off x="410444" y="2167401"/>
                  <a:ext cx="2618913" cy="484219"/>
                </a:xfrm>
                <a:custGeom>
                  <a:avLst/>
                  <a:gdLst>
                    <a:gd name="connsiteX0" fmla="*/ 304211 w 2618913"/>
                    <a:gd name="connsiteY0" fmla="*/ 0 h 484220"/>
                    <a:gd name="connsiteX1" fmla="*/ 423617 w 2618913"/>
                    <a:gd name="connsiteY1" fmla="*/ 7193 h 484220"/>
                    <a:gd name="connsiteX2" fmla="*/ 636393 w 2618913"/>
                    <a:gd name="connsiteY2" fmla="*/ 49449 h 484220"/>
                    <a:gd name="connsiteX3" fmla="*/ 859943 w 2618913"/>
                    <a:gd name="connsiteY3" fmla="*/ 116879 h 484220"/>
                    <a:gd name="connsiteX4" fmla="*/ 973962 w 2618913"/>
                    <a:gd name="connsiteY4" fmla="*/ 153740 h 484220"/>
                    <a:gd name="connsiteX5" fmla="*/ 1087981 w 2618913"/>
                    <a:gd name="connsiteY5" fmla="*/ 187905 h 484220"/>
                    <a:gd name="connsiteX6" fmla="*/ 1315122 w 2618913"/>
                    <a:gd name="connsiteY6" fmla="*/ 232858 h 484220"/>
                    <a:gd name="connsiteX7" fmla="*/ 1535081 w 2618913"/>
                    <a:gd name="connsiteY7" fmla="*/ 231959 h 484220"/>
                    <a:gd name="connsiteX8" fmla="*/ 1588948 w 2618913"/>
                    <a:gd name="connsiteY8" fmla="*/ 222069 h 484220"/>
                    <a:gd name="connsiteX9" fmla="*/ 1649998 w 2618913"/>
                    <a:gd name="connsiteY9" fmla="*/ 209482 h 484220"/>
                    <a:gd name="connsiteX10" fmla="*/ 1769404 w 2618913"/>
                    <a:gd name="connsiteY10" fmla="*/ 186106 h 484220"/>
                    <a:gd name="connsiteX11" fmla="*/ 1999238 w 2618913"/>
                    <a:gd name="connsiteY11" fmla="*/ 147447 h 484220"/>
                    <a:gd name="connsiteX12" fmla="*/ 2212912 w 2618913"/>
                    <a:gd name="connsiteY12" fmla="*/ 128566 h 484220"/>
                    <a:gd name="connsiteX13" fmla="*/ 2400550 w 2618913"/>
                    <a:gd name="connsiteY13" fmla="*/ 144750 h 484220"/>
                    <a:gd name="connsiteX14" fmla="*/ 2536117 w 2618913"/>
                    <a:gd name="connsiteY14" fmla="*/ 196895 h 484220"/>
                    <a:gd name="connsiteX15" fmla="*/ 2611531 w 2618913"/>
                    <a:gd name="connsiteY15" fmla="*/ 245445 h 484220"/>
                    <a:gd name="connsiteX16" fmla="*/ 2618913 w 2618913"/>
                    <a:gd name="connsiteY16" fmla="*/ 250957 h 484220"/>
                    <a:gd name="connsiteX17" fmla="*/ 2618913 w 2618913"/>
                    <a:gd name="connsiteY17" fmla="*/ 260754 h 484220"/>
                    <a:gd name="connsiteX18" fmla="*/ 2606144 w 2618913"/>
                    <a:gd name="connsiteY18" fmla="*/ 258032 h 484220"/>
                    <a:gd name="connsiteX19" fmla="*/ 2520854 w 2618913"/>
                    <a:gd name="connsiteY19" fmla="*/ 243647 h 484220"/>
                    <a:gd name="connsiteX20" fmla="*/ 2392470 w 2618913"/>
                    <a:gd name="connsiteY20" fmla="*/ 240050 h 484220"/>
                    <a:gd name="connsiteX21" fmla="*/ 2231766 w 2618913"/>
                    <a:gd name="connsiteY21" fmla="*/ 270619 h 484220"/>
                    <a:gd name="connsiteX22" fmla="*/ 2040537 w 2618913"/>
                    <a:gd name="connsiteY22" fmla="*/ 329058 h 484220"/>
                    <a:gd name="connsiteX23" fmla="*/ 1821476 w 2618913"/>
                    <a:gd name="connsiteY23" fmla="*/ 398286 h 484220"/>
                    <a:gd name="connsiteX24" fmla="*/ 1704763 w 2618913"/>
                    <a:gd name="connsiteY24" fmla="*/ 433349 h 484220"/>
                    <a:gd name="connsiteX25" fmla="*/ 1644611 w 2618913"/>
                    <a:gd name="connsiteY25" fmla="*/ 451330 h 484220"/>
                    <a:gd name="connsiteX26" fmla="*/ 1575481 w 2618913"/>
                    <a:gd name="connsiteY26" fmla="*/ 467514 h 484220"/>
                    <a:gd name="connsiteX27" fmla="*/ 1288189 w 2618913"/>
                    <a:gd name="connsiteY27" fmla="*/ 478302 h 484220"/>
                    <a:gd name="connsiteX28" fmla="*/ 1017954 w 2618913"/>
                    <a:gd name="connsiteY28" fmla="*/ 416267 h 484220"/>
                    <a:gd name="connsiteX29" fmla="*/ 895854 w 2618913"/>
                    <a:gd name="connsiteY29" fmla="*/ 370415 h 484220"/>
                    <a:gd name="connsiteX30" fmla="*/ 780937 w 2618913"/>
                    <a:gd name="connsiteY30" fmla="*/ 320966 h 484220"/>
                    <a:gd name="connsiteX31" fmla="*/ 574445 w 2618913"/>
                    <a:gd name="connsiteY31" fmla="*/ 223867 h 484220"/>
                    <a:gd name="connsiteX32" fmla="*/ 391296 w 2618913"/>
                    <a:gd name="connsiteY32" fmla="*/ 145649 h 484220"/>
                    <a:gd name="connsiteX33" fmla="*/ 232387 w 2618913"/>
                    <a:gd name="connsiteY33" fmla="*/ 97099 h 484220"/>
                    <a:gd name="connsiteX34" fmla="*/ 103106 w 2618913"/>
                    <a:gd name="connsiteY34" fmla="*/ 78219 h 484220"/>
                    <a:gd name="connsiteX35" fmla="*/ 16918 w 2618913"/>
                    <a:gd name="connsiteY35" fmla="*/ 75522 h 484220"/>
                    <a:gd name="connsiteX36" fmla="*/ 0 w 2618913"/>
                    <a:gd name="connsiteY36" fmla="*/ 75847 h 484220"/>
                    <a:gd name="connsiteX37" fmla="*/ 0 w 2618913"/>
                    <a:gd name="connsiteY37" fmla="*/ 68854 h 484220"/>
                    <a:gd name="connsiteX38" fmla="*/ 13327 w 2618913"/>
                    <a:gd name="connsiteY38" fmla="*/ 62036 h 484220"/>
                    <a:gd name="connsiteX39" fmla="*/ 48340 w 2618913"/>
                    <a:gd name="connsiteY39" fmla="*/ 46751 h 484220"/>
                    <a:gd name="connsiteX40" fmla="*/ 97719 w 2618913"/>
                    <a:gd name="connsiteY40" fmla="*/ 28770 h 484220"/>
                    <a:gd name="connsiteX41" fmla="*/ 237774 w 2618913"/>
                    <a:gd name="connsiteY41" fmla="*/ 2697 h 484220"/>
                    <a:gd name="connsiteX42" fmla="*/ 304211 w 2618913"/>
                    <a:gd name="connsiteY42" fmla="*/ 0 h 484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618913" h="484220">
                      <a:moveTo>
                        <a:pt x="304211" y="0"/>
                      </a:moveTo>
                      <a:cubicBezTo>
                        <a:pt x="341918" y="0"/>
                        <a:pt x="382318" y="2697"/>
                        <a:pt x="423617" y="7193"/>
                      </a:cubicBezTo>
                      <a:cubicBezTo>
                        <a:pt x="490951" y="15284"/>
                        <a:pt x="562774" y="30568"/>
                        <a:pt x="636393" y="49449"/>
                      </a:cubicBezTo>
                      <a:cubicBezTo>
                        <a:pt x="709114" y="69228"/>
                        <a:pt x="784528" y="92604"/>
                        <a:pt x="859943" y="116879"/>
                      </a:cubicBezTo>
                      <a:cubicBezTo>
                        <a:pt x="897650" y="129465"/>
                        <a:pt x="935357" y="141153"/>
                        <a:pt x="973962" y="153740"/>
                      </a:cubicBezTo>
                      <a:cubicBezTo>
                        <a:pt x="1011669" y="165428"/>
                        <a:pt x="1050274" y="177116"/>
                        <a:pt x="1087981" y="187905"/>
                      </a:cubicBezTo>
                      <a:cubicBezTo>
                        <a:pt x="1164294" y="207684"/>
                        <a:pt x="1239708" y="225665"/>
                        <a:pt x="1315122" y="232858"/>
                      </a:cubicBezTo>
                      <a:cubicBezTo>
                        <a:pt x="1389639" y="241848"/>
                        <a:pt x="1463258" y="240949"/>
                        <a:pt x="1535081" y="231959"/>
                      </a:cubicBezTo>
                      <a:cubicBezTo>
                        <a:pt x="1553037" y="228363"/>
                        <a:pt x="1570992" y="224766"/>
                        <a:pt x="1588948" y="222069"/>
                      </a:cubicBezTo>
                      <a:cubicBezTo>
                        <a:pt x="1608700" y="217574"/>
                        <a:pt x="1629349" y="213977"/>
                        <a:pt x="1649998" y="209482"/>
                      </a:cubicBezTo>
                      <a:cubicBezTo>
                        <a:pt x="1690398" y="201391"/>
                        <a:pt x="1729901" y="193299"/>
                        <a:pt x="1769404" y="186106"/>
                      </a:cubicBezTo>
                      <a:cubicBezTo>
                        <a:pt x="1847512" y="171721"/>
                        <a:pt x="1924722" y="158235"/>
                        <a:pt x="1999238" y="147447"/>
                      </a:cubicBezTo>
                      <a:cubicBezTo>
                        <a:pt x="2072857" y="137557"/>
                        <a:pt x="2144680" y="129465"/>
                        <a:pt x="2212912" y="128566"/>
                      </a:cubicBezTo>
                      <a:cubicBezTo>
                        <a:pt x="2281144" y="127667"/>
                        <a:pt x="2345785" y="132163"/>
                        <a:pt x="2400550" y="144750"/>
                      </a:cubicBezTo>
                      <a:cubicBezTo>
                        <a:pt x="2456213" y="159135"/>
                        <a:pt x="2501103" y="178015"/>
                        <a:pt x="2536117" y="196895"/>
                      </a:cubicBezTo>
                      <a:cubicBezTo>
                        <a:pt x="2570233" y="215776"/>
                        <a:pt x="2595371" y="232858"/>
                        <a:pt x="2611531" y="245445"/>
                      </a:cubicBezTo>
                      <a:lnTo>
                        <a:pt x="2618913" y="250957"/>
                      </a:lnTo>
                      <a:lnTo>
                        <a:pt x="2618913" y="260754"/>
                      </a:lnTo>
                      <a:lnTo>
                        <a:pt x="2606144" y="258032"/>
                      </a:lnTo>
                      <a:cubicBezTo>
                        <a:pt x="2586393" y="253536"/>
                        <a:pt x="2556766" y="249041"/>
                        <a:pt x="2520854" y="243647"/>
                      </a:cubicBezTo>
                      <a:cubicBezTo>
                        <a:pt x="2484045" y="239151"/>
                        <a:pt x="2440951" y="237353"/>
                        <a:pt x="2392470" y="240050"/>
                      </a:cubicBezTo>
                      <a:cubicBezTo>
                        <a:pt x="2343990" y="243647"/>
                        <a:pt x="2291020" y="254435"/>
                        <a:pt x="2231766" y="270619"/>
                      </a:cubicBezTo>
                      <a:cubicBezTo>
                        <a:pt x="2173409" y="285903"/>
                        <a:pt x="2108769" y="306581"/>
                        <a:pt x="2040537" y="329058"/>
                      </a:cubicBezTo>
                      <a:cubicBezTo>
                        <a:pt x="1971407" y="350635"/>
                        <a:pt x="1897788" y="374910"/>
                        <a:pt x="1821476" y="398286"/>
                      </a:cubicBezTo>
                      <a:cubicBezTo>
                        <a:pt x="1782871" y="410873"/>
                        <a:pt x="1744266" y="422560"/>
                        <a:pt x="1704763" y="433349"/>
                      </a:cubicBezTo>
                      <a:cubicBezTo>
                        <a:pt x="1685012" y="439643"/>
                        <a:pt x="1664363" y="445037"/>
                        <a:pt x="1644611" y="451330"/>
                      </a:cubicBezTo>
                      <a:cubicBezTo>
                        <a:pt x="1622166" y="456725"/>
                        <a:pt x="1598824" y="462119"/>
                        <a:pt x="1575481" y="467514"/>
                      </a:cubicBezTo>
                      <a:cubicBezTo>
                        <a:pt x="1481213" y="486394"/>
                        <a:pt x="1382456" y="488192"/>
                        <a:pt x="1288189" y="478302"/>
                      </a:cubicBezTo>
                      <a:cubicBezTo>
                        <a:pt x="1193023" y="467514"/>
                        <a:pt x="1102346" y="445037"/>
                        <a:pt x="1017954" y="416267"/>
                      </a:cubicBezTo>
                      <a:cubicBezTo>
                        <a:pt x="975758" y="402781"/>
                        <a:pt x="935357" y="386598"/>
                        <a:pt x="895854" y="370415"/>
                      </a:cubicBezTo>
                      <a:cubicBezTo>
                        <a:pt x="856351" y="354232"/>
                        <a:pt x="817746" y="338048"/>
                        <a:pt x="780937" y="320966"/>
                      </a:cubicBezTo>
                      <a:cubicBezTo>
                        <a:pt x="707318" y="287701"/>
                        <a:pt x="639086" y="253536"/>
                        <a:pt x="574445" y="223867"/>
                      </a:cubicBezTo>
                      <a:cubicBezTo>
                        <a:pt x="508907" y="193299"/>
                        <a:pt x="448755" y="167226"/>
                        <a:pt x="391296" y="145649"/>
                      </a:cubicBezTo>
                      <a:cubicBezTo>
                        <a:pt x="333838" y="124071"/>
                        <a:pt x="280868" y="108787"/>
                        <a:pt x="232387" y="97099"/>
                      </a:cubicBezTo>
                      <a:cubicBezTo>
                        <a:pt x="183907" y="86310"/>
                        <a:pt x="139915" y="80916"/>
                        <a:pt x="103106" y="78219"/>
                      </a:cubicBezTo>
                      <a:cubicBezTo>
                        <a:pt x="67194" y="75522"/>
                        <a:pt x="37567" y="73723"/>
                        <a:pt x="16918" y="75522"/>
                      </a:cubicBezTo>
                      <a:lnTo>
                        <a:pt x="0" y="75847"/>
                      </a:lnTo>
                      <a:lnTo>
                        <a:pt x="0" y="68854"/>
                      </a:lnTo>
                      <a:lnTo>
                        <a:pt x="13327" y="62036"/>
                      </a:lnTo>
                      <a:cubicBezTo>
                        <a:pt x="23202" y="57540"/>
                        <a:pt x="33976" y="51247"/>
                        <a:pt x="48340" y="46751"/>
                      </a:cubicBezTo>
                      <a:cubicBezTo>
                        <a:pt x="62705" y="41357"/>
                        <a:pt x="78865" y="33266"/>
                        <a:pt x="97719" y="28770"/>
                      </a:cubicBezTo>
                      <a:cubicBezTo>
                        <a:pt x="135426" y="17082"/>
                        <a:pt x="182111" y="8092"/>
                        <a:pt x="237774" y="2697"/>
                      </a:cubicBezTo>
                      <a:cubicBezTo>
                        <a:pt x="259321" y="899"/>
                        <a:pt x="280868" y="0"/>
                        <a:pt x="304211" y="0"/>
                      </a:cubicBez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26" name="Freeform: Shape 10">
                  <a:extLst>
                    <a:ext uri="{FF2B5EF4-FFF2-40B4-BE49-F238E27FC236}">
                      <a16:creationId xmlns:a16="http://schemas.microsoft.com/office/drawing/2014/main" id="{3CEF5644-C765-41FE-BA01-A9D98B4855B5}"/>
                    </a:ext>
                  </a:extLst>
                </p:cNvPr>
                <p:cNvSpPr/>
                <p:nvPr/>
              </p:nvSpPr>
              <p:spPr>
                <a:xfrm>
                  <a:off x="410444" y="1394507"/>
                  <a:ext cx="2618913" cy="953269"/>
                </a:xfrm>
                <a:custGeom>
                  <a:avLst/>
                  <a:gdLst>
                    <a:gd name="connsiteX0" fmla="*/ 125760 w 2618913"/>
                    <a:gd name="connsiteY0" fmla="*/ 0 h 1653709"/>
                    <a:gd name="connsiteX1" fmla="*/ 2493153 w 2618913"/>
                    <a:gd name="connsiteY1" fmla="*/ 0 h 1653709"/>
                    <a:gd name="connsiteX2" fmla="*/ 2618913 w 2618913"/>
                    <a:gd name="connsiteY2" fmla="*/ 125760 h 1653709"/>
                    <a:gd name="connsiteX3" fmla="*/ 2618913 w 2618913"/>
                    <a:gd name="connsiteY3" fmla="*/ 1653709 h 1653709"/>
                    <a:gd name="connsiteX4" fmla="*/ 2611531 w 2618913"/>
                    <a:gd name="connsiteY4" fmla="*/ 1648197 h 1653709"/>
                    <a:gd name="connsiteX5" fmla="*/ 2536117 w 2618913"/>
                    <a:gd name="connsiteY5" fmla="*/ 1599647 h 1653709"/>
                    <a:gd name="connsiteX6" fmla="*/ 2400550 w 2618913"/>
                    <a:gd name="connsiteY6" fmla="*/ 1547502 h 1653709"/>
                    <a:gd name="connsiteX7" fmla="*/ 2212912 w 2618913"/>
                    <a:gd name="connsiteY7" fmla="*/ 1531318 h 1653709"/>
                    <a:gd name="connsiteX8" fmla="*/ 1999238 w 2618913"/>
                    <a:gd name="connsiteY8" fmla="*/ 1550199 h 1653709"/>
                    <a:gd name="connsiteX9" fmla="*/ 1769404 w 2618913"/>
                    <a:gd name="connsiteY9" fmla="*/ 1588858 h 1653709"/>
                    <a:gd name="connsiteX10" fmla="*/ 1649998 w 2618913"/>
                    <a:gd name="connsiteY10" fmla="*/ 1612234 h 1653709"/>
                    <a:gd name="connsiteX11" fmla="*/ 1588948 w 2618913"/>
                    <a:gd name="connsiteY11" fmla="*/ 1624821 h 1653709"/>
                    <a:gd name="connsiteX12" fmla="*/ 1535081 w 2618913"/>
                    <a:gd name="connsiteY12" fmla="*/ 1634711 h 1653709"/>
                    <a:gd name="connsiteX13" fmla="*/ 1315122 w 2618913"/>
                    <a:gd name="connsiteY13" fmla="*/ 1635610 h 1653709"/>
                    <a:gd name="connsiteX14" fmla="*/ 1087981 w 2618913"/>
                    <a:gd name="connsiteY14" fmla="*/ 1590657 h 1653709"/>
                    <a:gd name="connsiteX15" fmla="*/ 973962 w 2618913"/>
                    <a:gd name="connsiteY15" fmla="*/ 1556492 h 1653709"/>
                    <a:gd name="connsiteX16" fmla="*/ 859943 w 2618913"/>
                    <a:gd name="connsiteY16" fmla="*/ 1519631 h 1653709"/>
                    <a:gd name="connsiteX17" fmla="*/ 636393 w 2618913"/>
                    <a:gd name="connsiteY17" fmla="*/ 1452201 h 1653709"/>
                    <a:gd name="connsiteX18" fmla="*/ 423617 w 2618913"/>
                    <a:gd name="connsiteY18" fmla="*/ 1409945 h 1653709"/>
                    <a:gd name="connsiteX19" fmla="*/ 304211 w 2618913"/>
                    <a:gd name="connsiteY19" fmla="*/ 1402752 h 1653709"/>
                    <a:gd name="connsiteX20" fmla="*/ 237774 w 2618913"/>
                    <a:gd name="connsiteY20" fmla="*/ 1405449 h 1653709"/>
                    <a:gd name="connsiteX21" fmla="*/ 97719 w 2618913"/>
                    <a:gd name="connsiteY21" fmla="*/ 1431522 h 1653709"/>
                    <a:gd name="connsiteX22" fmla="*/ 48340 w 2618913"/>
                    <a:gd name="connsiteY22" fmla="*/ 1449503 h 1653709"/>
                    <a:gd name="connsiteX23" fmla="*/ 13327 w 2618913"/>
                    <a:gd name="connsiteY23" fmla="*/ 1464788 h 1653709"/>
                    <a:gd name="connsiteX24" fmla="*/ 0 w 2618913"/>
                    <a:gd name="connsiteY24" fmla="*/ 1471606 h 1653709"/>
                    <a:gd name="connsiteX25" fmla="*/ 0 w 2618913"/>
                    <a:gd name="connsiteY25" fmla="*/ 125760 h 1653709"/>
                    <a:gd name="connsiteX26" fmla="*/ 125760 w 2618913"/>
                    <a:gd name="connsiteY26" fmla="*/ 0 h 1653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18913" h="1653709">
                      <a:moveTo>
                        <a:pt x="125760" y="0"/>
                      </a:moveTo>
                      <a:lnTo>
                        <a:pt x="2493153" y="0"/>
                      </a:lnTo>
                      <a:cubicBezTo>
                        <a:pt x="2562608" y="0"/>
                        <a:pt x="2618913" y="56305"/>
                        <a:pt x="2618913" y="125760"/>
                      </a:cubicBezTo>
                      <a:lnTo>
                        <a:pt x="2618913" y="1653709"/>
                      </a:lnTo>
                      <a:lnTo>
                        <a:pt x="2611531" y="1648197"/>
                      </a:lnTo>
                      <a:cubicBezTo>
                        <a:pt x="2595371" y="1635610"/>
                        <a:pt x="2570233" y="1618528"/>
                        <a:pt x="2536117" y="1599647"/>
                      </a:cubicBezTo>
                      <a:cubicBezTo>
                        <a:pt x="2501103" y="1580767"/>
                        <a:pt x="2456213" y="1561887"/>
                        <a:pt x="2400550" y="1547502"/>
                      </a:cubicBezTo>
                      <a:cubicBezTo>
                        <a:pt x="2345785" y="1534915"/>
                        <a:pt x="2281144" y="1530419"/>
                        <a:pt x="2212912" y="1531318"/>
                      </a:cubicBezTo>
                      <a:cubicBezTo>
                        <a:pt x="2144680" y="1532217"/>
                        <a:pt x="2072857" y="1540309"/>
                        <a:pt x="1999238" y="1550199"/>
                      </a:cubicBezTo>
                      <a:cubicBezTo>
                        <a:pt x="1924722" y="1560987"/>
                        <a:pt x="1847512" y="1574473"/>
                        <a:pt x="1769404" y="1588858"/>
                      </a:cubicBezTo>
                      <a:cubicBezTo>
                        <a:pt x="1729901" y="1596051"/>
                        <a:pt x="1690398" y="1604143"/>
                        <a:pt x="1649998" y="1612234"/>
                      </a:cubicBezTo>
                      <a:cubicBezTo>
                        <a:pt x="1629349" y="1616729"/>
                        <a:pt x="1608700" y="1620326"/>
                        <a:pt x="1588948" y="1624821"/>
                      </a:cubicBezTo>
                      <a:cubicBezTo>
                        <a:pt x="1570992" y="1627518"/>
                        <a:pt x="1553037" y="1631115"/>
                        <a:pt x="1535081" y="1634711"/>
                      </a:cubicBezTo>
                      <a:cubicBezTo>
                        <a:pt x="1463258" y="1643701"/>
                        <a:pt x="1389639" y="1644600"/>
                        <a:pt x="1315122" y="1635610"/>
                      </a:cubicBezTo>
                      <a:cubicBezTo>
                        <a:pt x="1239708" y="1628417"/>
                        <a:pt x="1164294" y="1610436"/>
                        <a:pt x="1087981" y="1590657"/>
                      </a:cubicBezTo>
                      <a:cubicBezTo>
                        <a:pt x="1050274" y="1579868"/>
                        <a:pt x="1011669" y="1568180"/>
                        <a:pt x="973962" y="1556492"/>
                      </a:cubicBezTo>
                      <a:cubicBezTo>
                        <a:pt x="935357" y="1543905"/>
                        <a:pt x="897650" y="1532217"/>
                        <a:pt x="859943" y="1519631"/>
                      </a:cubicBezTo>
                      <a:cubicBezTo>
                        <a:pt x="784528" y="1495356"/>
                        <a:pt x="709114" y="1471980"/>
                        <a:pt x="636393" y="1452201"/>
                      </a:cubicBezTo>
                      <a:cubicBezTo>
                        <a:pt x="562774" y="1433320"/>
                        <a:pt x="490951" y="1418036"/>
                        <a:pt x="423617" y="1409945"/>
                      </a:cubicBezTo>
                      <a:cubicBezTo>
                        <a:pt x="382318" y="1405449"/>
                        <a:pt x="341918" y="1402752"/>
                        <a:pt x="304211" y="1402752"/>
                      </a:cubicBezTo>
                      <a:cubicBezTo>
                        <a:pt x="280868" y="1402752"/>
                        <a:pt x="259321" y="1403651"/>
                        <a:pt x="237774" y="1405449"/>
                      </a:cubicBezTo>
                      <a:cubicBezTo>
                        <a:pt x="182111" y="1410844"/>
                        <a:pt x="135426" y="1419834"/>
                        <a:pt x="97719" y="1431522"/>
                      </a:cubicBezTo>
                      <a:cubicBezTo>
                        <a:pt x="78865" y="1436018"/>
                        <a:pt x="62705" y="1444109"/>
                        <a:pt x="48340" y="1449503"/>
                      </a:cubicBezTo>
                      <a:cubicBezTo>
                        <a:pt x="33976" y="1453999"/>
                        <a:pt x="23202" y="1460292"/>
                        <a:pt x="13327" y="1464788"/>
                      </a:cubicBezTo>
                      <a:lnTo>
                        <a:pt x="0" y="1471606"/>
                      </a:lnTo>
                      <a:lnTo>
                        <a:pt x="0" y="125760"/>
                      </a:lnTo>
                      <a:cubicBezTo>
                        <a:pt x="0" y="56305"/>
                        <a:pt x="56305" y="0"/>
                        <a:pt x="125760" y="0"/>
                      </a:cubicBez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68580" rIns="68580" bIns="34290" numCol="1" spcCol="0" rtlCol="0" fromWordArt="0" anchor="t" anchorCtr="0" forceAA="0" compatLnSpc="1">
                  <a:prstTxWarp prst="textNoShape">
                    <a:avLst/>
                  </a:prstTxWarp>
                  <a:noAutofit/>
                </a:bodyPr>
                <a:lstStyle/>
                <a:p>
                  <a:pPr algn="ctr"/>
                  <a:r>
                    <a:rPr lang="en-US" dirty="0"/>
                    <a:t>Confluent Enterprise</a:t>
                  </a:r>
                </a:p>
              </p:txBody>
            </p:sp>
            <p:sp>
              <p:nvSpPr>
                <p:cNvPr id="27" name="Freeform: Shape 15">
                  <a:extLst>
                    <a:ext uri="{FF2B5EF4-FFF2-40B4-BE49-F238E27FC236}">
                      <a16:creationId xmlns:a16="http://schemas.microsoft.com/office/drawing/2014/main" id="{E390058D-4F56-4B28-B5D8-42927162D16C}"/>
                    </a:ext>
                  </a:extLst>
                </p:cNvPr>
                <p:cNvSpPr/>
                <p:nvPr/>
              </p:nvSpPr>
              <p:spPr>
                <a:xfrm>
                  <a:off x="410444" y="2529530"/>
                  <a:ext cx="636075" cy="220714"/>
                </a:xfrm>
                <a:custGeom>
                  <a:avLst/>
                  <a:gdLst>
                    <a:gd name="connsiteX0" fmla="*/ 477 w 636075"/>
                    <a:gd name="connsiteY0" fmla="*/ 356 h 220714"/>
                    <a:gd name="connsiteX1" fmla="*/ 26591 w 636075"/>
                    <a:gd name="connsiteY1" fmla="*/ 379 h 220714"/>
                    <a:gd name="connsiteX2" fmla="*/ 104805 w 636075"/>
                    <a:gd name="connsiteY2" fmla="*/ 2253 h 220714"/>
                    <a:gd name="connsiteX3" fmla="*/ 130729 w 636075"/>
                    <a:gd name="connsiteY3" fmla="*/ 4980 h 220714"/>
                    <a:gd name="connsiteX4" fmla="*/ 182513 w 636075"/>
                    <a:gd name="connsiteY4" fmla="*/ 11336 h 220714"/>
                    <a:gd name="connsiteX5" fmla="*/ 234044 w 636075"/>
                    <a:gd name="connsiteY5" fmla="*/ 21297 h 220714"/>
                    <a:gd name="connsiteX6" fmla="*/ 284552 w 636075"/>
                    <a:gd name="connsiteY6" fmla="*/ 32997 h 220714"/>
                    <a:gd name="connsiteX7" fmla="*/ 332182 w 636075"/>
                    <a:gd name="connsiteY7" fmla="*/ 47211 h 220714"/>
                    <a:gd name="connsiteX8" fmla="*/ 420725 w 636075"/>
                    <a:gd name="connsiteY8" fmla="*/ 81508 h 220714"/>
                    <a:gd name="connsiteX9" fmla="*/ 495510 w 636075"/>
                    <a:gd name="connsiteY9" fmla="*/ 119367 h 220714"/>
                    <a:gd name="connsiteX10" fmla="*/ 556791 w 636075"/>
                    <a:gd name="connsiteY10" fmla="*/ 157182 h 220714"/>
                    <a:gd name="connsiteX11" fmla="*/ 600402 w 636075"/>
                    <a:gd name="connsiteY11" fmla="*/ 190132 h 220714"/>
                    <a:gd name="connsiteX12" fmla="*/ 636075 w 636075"/>
                    <a:gd name="connsiteY12" fmla="*/ 220714 h 220714"/>
                    <a:gd name="connsiteX13" fmla="*/ 591197 w 636075"/>
                    <a:gd name="connsiteY13" fmla="*/ 205787 h 220714"/>
                    <a:gd name="connsiteX14" fmla="*/ 540236 w 636075"/>
                    <a:gd name="connsiteY14" fmla="*/ 187716 h 220714"/>
                    <a:gd name="connsiteX15" fmla="*/ 475065 w 636075"/>
                    <a:gd name="connsiteY15" fmla="*/ 166835 h 220714"/>
                    <a:gd name="connsiteX16" fmla="*/ 398243 w 636075"/>
                    <a:gd name="connsiteY16" fmla="*/ 145135 h 220714"/>
                    <a:gd name="connsiteX17" fmla="*/ 311438 w 636075"/>
                    <a:gd name="connsiteY17" fmla="*/ 124545 h 220714"/>
                    <a:gd name="connsiteX18" fmla="*/ 265284 w 636075"/>
                    <a:gd name="connsiteY18" fmla="*/ 114962 h 220714"/>
                    <a:gd name="connsiteX19" fmla="*/ 218107 w 636075"/>
                    <a:gd name="connsiteY19" fmla="*/ 107119 h 220714"/>
                    <a:gd name="connsiteX20" fmla="*/ 194998 w 636075"/>
                    <a:gd name="connsiteY20" fmla="*/ 102778 h 220714"/>
                    <a:gd name="connsiteX21" fmla="*/ 169971 w 636075"/>
                    <a:gd name="connsiteY21" fmla="*/ 100113 h 220714"/>
                    <a:gd name="connsiteX22" fmla="*/ 121771 w 636075"/>
                    <a:gd name="connsiteY22" fmla="*/ 94009 h 220714"/>
                    <a:gd name="connsiteX23" fmla="*/ 24992 w 636075"/>
                    <a:gd name="connsiteY23" fmla="*/ 87209 h 220714"/>
                    <a:gd name="connsiteX24" fmla="*/ 0 w 636075"/>
                    <a:gd name="connsiteY24" fmla="*/ 86640 h 220714"/>
                    <a:gd name="connsiteX25" fmla="*/ 0 w 636075"/>
                    <a:gd name="connsiteY25" fmla="*/ 373 h 220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36075" h="220714">
                      <a:moveTo>
                        <a:pt x="477" y="356"/>
                      </a:moveTo>
                      <a:cubicBezTo>
                        <a:pt x="8605" y="21"/>
                        <a:pt x="17630" y="-250"/>
                        <a:pt x="26591" y="379"/>
                      </a:cubicBezTo>
                      <a:cubicBezTo>
                        <a:pt x="51872" y="-561"/>
                        <a:pt x="78818" y="427"/>
                        <a:pt x="104805" y="2253"/>
                      </a:cubicBezTo>
                      <a:cubicBezTo>
                        <a:pt x="113766" y="2883"/>
                        <a:pt x="121768" y="4351"/>
                        <a:pt x="130729" y="4980"/>
                      </a:cubicBezTo>
                      <a:cubicBezTo>
                        <a:pt x="148651" y="6240"/>
                        <a:pt x="165550" y="9239"/>
                        <a:pt x="182513" y="11336"/>
                      </a:cubicBezTo>
                      <a:cubicBezTo>
                        <a:pt x="200372" y="13497"/>
                        <a:pt x="217208" y="17397"/>
                        <a:pt x="234044" y="21297"/>
                      </a:cubicBezTo>
                      <a:cubicBezTo>
                        <a:pt x="250880" y="25197"/>
                        <a:pt x="267779" y="28196"/>
                        <a:pt x="284552" y="32997"/>
                      </a:cubicBezTo>
                      <a:cubicBezTo>
                        <a:pt x="300428" y="37735"/>
                        <a:pt x="316305" y="42473"/>
                        <a:pt x="332182" y="47211"/>
                      </a:cubicBezTo>
                      <a:cubicBezTo>
                        <a:pt x="363935" y="56688"/>
                        <a:pt x="392683" y="70481"/>
                        <a:pt x="420725" y="81508"/>
                      </a:cubicBezTo>
                      <a:cubicBezTo>
                        <a:pt x="447808" y="93373"/>
                        <a:pt x="472908" y="107816"/>
                        <a:pt x="495510" y="119367"/>
                      </a:cubicBezTo>
                      <a:cubicBezTo>
                        <a:pt x="518882" y="132782"/>
                        <a:pt x="538669" y="145946"/>
                        <a:pt x="556791" y="157182"/>
                      </a:cubicBezTo>
                      <a:cubicBezTo>
                        <a:pt x="574912" y="168417"/>
                        <a:pt x="587531" y="181077"/>
                        <a:pt x="600402" y="190132"/>
                      </a:cubicBezTo>
                      <a:cubicBezTo>
                        <a:pt x="623394" y="208955"/>
                        <a:pt x="636075" y="220714"/>
                        <a:pt x="636075" y="220714"/>
                      </a:cubicBezTo>
                      <a:cubicBezTo>
                        <a:pt x="636075" y="220714"/>
                        <a:pt x="620199" y="215976"/>
                        <a:pt x="591197" y="205787"/>
                      </a:cubicBezTo>
                      <a:cubicBezTo>
                        <a:pt x="577113" y="201175"/>
                        <a:pt x="560530" y="193670"/>
                        <a:pt x="540236" y="187716"/>
                      </a:cubicBezTo>
                      <a:cubicBezTo>
                        <a:pt x="520839" y="181824"/>
                        <a:pt x="498816" y="174843"/>
                        <a:pt x="475065" y="166835"/>
                      </a:cubicBezTo>
                      <a:cubicBezTo>
                        <a:pt x="451186" y="160628"/>
                        <a:pt x="425643" y="152494"/>
                        <a:pt x="398243" y="145135"/>
                      </a:cubicBezTo>
                      <a:cubicBezTo>
                        <a:pt x="369885" y="138614"/>
                        <a:pt x="341716" y="129389"/>
                        <a:pt x="311438" y="124545"/>
                      </a:cubicBezTo>
                      <a:cubicBezTo>
                        <a:pt x="296394" y="120771"/>
                        <a:pt x="281287" y="117898"/>
                        <a:pt x="265284" y="114962"/>
                      </a:cubicBezTo>
                      <a:cubicBezTo>
                        <a:pt x="250177" y="112089"/>
                        <a:pt x="234174" y="109153"/>
                        <a:pt x="218107" y="107119"/>
                      </a:cubicBezTo>
                      <a:lnTo>
                        <a:pt x="194998" y="102778"/>
                      </a:lnTo>
                      <a:lnTo>
                        <a:pt x="169971" y="100113"/>
                      </a:lnTo>
                      <a:cubicBezTo>
                        <a:pt x="153904" y="98079"/>
                        <a:pt x="137901" y="95143"/>
                        <a:pt x="121771" y="94009"/>
                      </a:cubicBezTo>
                      <a:cubicBezTo>
                        <a:pt x="89511" y="91743"/>
                        <a:pt x="56419" y="88512"/>
                        <a:pt x="24992" y="87209"/>
                      </a:cubicBezTo>
                      <a:lnTo>
                        <a:pt x="0" y="86640"/>
                      </a:lnTo>
                      <a:lnTo>
                        <a:pt x="0" y="373"/>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28" name="Freeform 11">
                  <a:extLst>
                    <a:ext uri="{FF2B5EF4-FFF2-40B4-BE49-F238E27FC236}">
                      <a16:creationId xmlns:a16="http://schemas.microsoft.com/office/drawing/2014/main" id="{54A41A65-DDBC-495F-839A-96EB9E63147D}"/>
                    </a:ext>
                  </a:extLst>
                </p:cNvPr>
                <p:cNvSpPr>
                  <a:spLocks/>
                </p:cNvSpPr>
                <p:nvPr/>
              </p:nvSpPr>
              <p:spPr bwMode="auto">
                <a:xfrm>
                  <a:off x="924932" y="1957818"/>
                  <a:ext cx="2102175" cy="302296"/>
                </a:xfrm>
                <a:custGeom>
                  <a:avLst/>
                  <a:gdLst>
                    <a:gd name="T0" fmla="*/ 1690 w 2341"/>
                    <a:gd name="T1" fmla="*/ 0 h 337"/>
                    <a:gd name="T2" fmla="*/ 945 w 2341"/>
                    <a:gd name="T3" fmla="*/ 121 h 337"/>
                    <a:gd name="T4" fmla="*/ 945 w 2341"/>
                    <a:gd name="T5" fmla="*/ 121 h 337"/>
                    <a:gd name="T6" fmla="*/ 627 w 2341"/>
                    <a:gd name="T7" fmla="*/ 85 h 337"/>
                    <a:gd name="T8" fmla="*/ 627 w 2341"/>
                    <a:gd name="T9" fmla="*/ 85 h 337"/>
                    <a:gd name="T10" fmla="*/ 0 w 2341"/>
                    <a:gd name="T11" fmla="*/ 101 h 337"/>
                    <a:gd name="T12" fmla="*/ 0 w 2341"/>
                    <a:gd name="T13" fmla="*/ 101 h 337"/>
                    <a:gd name="T14" fmla="*/ 1027 w 2341"/>
                    <a:gd name="T15" fmla="*/ 335 h 337"/>
                    <a:gd name="T16" fmla="*/ 1027 w 2341"/>
                    <a:gd name="T17" fmla="*/ 335 h 337"/>
                    <a:gd name="T18" fmla="*/ 1533 w 2341"/>
                    <a:gd name="T19" fmla="*/ 271 h 337"/>
                    <a:gd name="T20" fmla="*/ 1533 w 2341"/>
                    <a:gd name="T21" fmla="*/ 271 h 337"/>
                    <a:gd name="T22" fmla="*/ 2341 w 2341"/>
                    <a:gd name="T23" fmla="*/ 311 h 337"/>
                    <a:gd name="T24" fmla="*/ 2341 w 2341"/>
                    <a:gd name="T25" fmla="*/ 311 h 337"/>
                    <a:gd name="T26" fmla="*/ 1701 w 2341"/>
                    <a:gd name="T27" fmla="*/ 0 h 337"/>
                    <a:gd name="T28" fmla="*/ 1701 w 2341"/>
                    <a:gd name="T29" fmla="*/ 0 h 337"/>
                    <a:gd name="T30" fmla="*/ 1690 w 2341"/>
                    <a:gd name="T31" fmla="*/ 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41" h="337">
                      <a:moveTo>
                        <a:pt x="1690" y="0"/>
                      </a:moveTo>
                      <a:cubicBezTo>
                        <a:pt x="1336" y="7"/>
                        <a:pt x="1299" y="114"/>
                        <a:pt x="945" y="121"/>
                      </a:cubicBezTo>
                      <a:lnTo>
                        <a:pt x="945" y="121"/>
                      </a:lnTo>
                      <a:cubicBezTo>
                        <a:pt x="816" y="123"/>
                        <a:pt x="720" y="104"/>
                        <a:pt x="627" y="85"/>
                      </a:cubicBezTo>
                      <a:lnTo>
                        <a:pt x="627" y="85"/>
                      </a:lnTo>
                      <a:cubicBezTo>
                        <a:pt x="464" y="52"/>
                        <a:pt x="310" y="19"/>
                        <a:pt x="0" y="101"/>
                      </a:cubicBezTo>
                      <a:lnTo>
                        <a:pt x="0" y="101"/>
                      </a:lnTo>
                      <a:cubicBezTo>
                        <a:pt x="415" y="129"/>
                        <a:pt x="652" y="331"/>
                        <a:pt x="1027" y="335"/>
                      </a:cubicBezTo>
                      <a:lnTo>
                        <a:pt x="1027" y="335"/>
                      </a:lnTo>
                      <a:cubicBezTo>
                        <a:pt x="1230" y="337"/>
                        <a:pt x="1390" y="304"/>
                        <a:pt x="1533" y="271"/>
                      </a:cubicBezTo>
                      <a:lnTo>
                        <a:pt x="1533" y="271"/>
                      </a:lnTo>
                      <a:cubicBezTo>
                        <a:pt x="1799" y="210"/>
                        <a:pt x="2009" y="149"/>
                        <a:pt x="2341" y="311"/>
                      </a:cubicBezTo>
                      <a:lnTo>
                        <a:pt x="2341" y="311"/>
                      </a:lnTo>
                      <a:cubicBezTo>
                        <a:pt x="2341" y="311"/>
                        <a:pt x="2050" y="0"/>
                        <a:pt x="1701" y="0"/>
                      </a:cubicBezTo>
                      <a:lnTo>
                        <a:pt x="1701" y="0"/>
                      </a:lnTo>
                      <a:cubicBezTo>
                        <a:pt x="1697" y="0"/>
                        <a:pt x="1694" y="0"/>
                        <a:pt x="1690" y="0"/>
                      </a:cubicBezTo>
                      <a:close/>
                    </a:path>
                  </a:pathLst>
                </a:custGeom>
                <a:solidFill>
                  <a:schemeClr val="bg1">
                    <a:alpha val="30000"/>
                  </a:schemeClr>
                </a:solidFill>
                <a:ln>
                  <a:noFill/>
                </a:ln>
              </p:spPr>
              <p:txBody>
                <a:bodyPr vert="horz" wrap="square" lIns="68580" tIns="34290" rIns="68580" bIns="34290" numCol="1" anchor="t" anchorCtr="0" compatLnSpc="1">
                  <a:prstTxWarp prst="textNoShape">
                    <a:avLst/>
                  </a:prstTxWarp>
                </a:bodyPr>
                <a:lstStyle/>
                <a:p>
                  <a:endParaRPr lang="en-US" sz="1350"/>
                </a:p>
              </p:txBody>
            </p:sp>
          </p:grpSp>
        </p:grpSp>
      </p:grpSp>
      <p:sp>
        <p:nvSpPr>
          <p:cNvPr id="30" name="Rectangle 29"/>
          <p:cNvSpPr/>
          <p:nvPr/>
        </p:nvSpPr>
        <p:spPr>
          <a:xfrm>
            <a:off x="1787728" y="2946565"/>
            <a:ext cx="2650141" cy="1738938"/>
          </a:xfrm>
          <a:prstGeom prst="rect">
            <a:avLst/>
          </a:prstGeom>
        </p:spPr>
        <p:txBody>
          <a:bodyPr wrap="square">
            <a:spAutoFit/>
          </a:bodyPr>
          <a:lstStyle/>
          <a:p>
            <a:pPr marL="144000" indent="-144000">
              <a:spcBef>
                <a:spcPts val="300"/>
              </a:spcBef>
              <a:spcAft>
                <a:spcPts val="300"/>
              </a:spcAft>
              <a:buFont typeface="Wingdings" panose="05000000000000000000" pitchFamily="2" charset="2"/>
              <a:buChar char="§"/>
            </a:pPr>
            <a:r>
              <a:rPr lang="en-GB" sz="1100" dirty="0">
                <a:solidFill>
                  <a:schemeClr val="accent1"/>
                </a:solidFill>
              </a:rPr>
              <a:t>Clients (C, C++ or Python)</a:t>
            </a:r>
          </a:p>
          <a:p>
            <a:pPr marL="144000" indent="-144000">
              <a:spcBef>
                <a:spcPts val="300"/>
              </a:spcBef>
              <a:spcAft>
                <a:spcPts val="300"/>
              </a:spcAft>
              <a:buFont typeface="Wingdings" panose="05000000000000000000" pitchFamily="2" charset="2"/>
              <a:buChar char="§"/>
            </a:pPr>
            <a:r>
              <a:rPr lang="en-GB" sz="1100" dirty="0">
                <a:solidFill>
                  <a:schemeClr val="accent1"/>
                </a:solidFill>
              </a:rPr>
              <a:t>Connectors (JDBC, HDFS, S3, …)</a:t>
            </a:r>
          </a:p>
          <a:p>
            <a:pPr marL="144000" indent="-144000">
              <a:spcBef>
                <a:spcPts val="300"/>
              </a:spcBef>
              <a:spcAft>
                <a:spcPts val="300"/>
              </a:spcAft>
              <a:buFont typeface="Wingdings" panose="05000000000000000000" pitchFamily="2" charset="2"/>
              <a:buChar char="§"/>
            </a:pPr>
            <a:r>
              <a:rPr lang="en-GB" sz="1100" dirty="0">
                <a:solidFill>
                  <a:schemeClr val="accent1"/>
                </a:solidFill>
              </a:rPr>
              <a:t>Schema Registry</a:t>
            </a:r>
          </a:p>
          <a:p>
            <a:pPr marL="144000" indent="-144000">
              <a:spcBef>
                <a:spcPts val="300"/>
              </a:spcBef>
              <a:spcAft>
                <a:spcPts val="300"/>
              </a:spcAft>
              <a:buFont typeface="Wingdings" panose="05000000000000000000" pitchFamily="2" charset="2"/>
              <a:buChar char="§"/>
            </a:pPr>
            <a:r>
              <a:rPr lang="en-GB" sz="1100" dirty="0">
                <a:solidFill>
                  <a:schemeClr val="accent1"/>
                </a:solidFill>
              </a:rPr>
              <a:t>REST Proxy</a:t>
            </a:r>
          </a:p>
          <a:p>
            <a:pPr marL="144000" indent="-144000">
              <a:spcBef>
                <a:spcPts val="300"/>
              </a:spcBef>
              <a:spcAft>
                <a:spcPts val="300"/>
              </a:spcAft>
              <a:buFont typeface="Wingdings" panose="05000000000000000000" pitchFamily="2" charset="2"/>
              <a:buChar char="§"/>
            </a:pPr>
            <a:r>
              <a:rPr lang="en-GB" sz="1100" dirty="0">
                <a:solidFill>
                  <a:schemeClr val="accent1"/>
                </a:solidFill>
              </a:rPr>
              <a:t>KSQL</a:t>
            </a:r>
          </a:p>
          <a:p>
            <a:pPr marL="144000" indent="-144000">
              <a:spcBef>
                <a:spcPts val="300"/>
              </a:spcBef>
              <a:spcAft>
                <a:spcPts val="300"/>
              </a:spcAft>
              <a:buFont typeface="Wingdings" panose="05000000000000000000" pitchFamily="2" charset="2"/>
              <a:buChar char="§"/>
            </a:pPr>
            <a:r>
              <a:rPr lang="es-ES" sz="1100" dirty="0">
                <a:solidFill>
                  <a:schemeClr val="accent1"/>
                </a:solidFill>
              </a:rPr>
              <a:t>Kafka distribution</a:t>
            </a:r>
          </a:p>
          <a:p>
            <a:pPr marL="601200" lvl="1" indent="-144000">
              <a:spcBef>
                <a:spcPts val="300"/>
              </a:spcBef>
              <a:spcAft>
                <a:spcPts val="300"/>
              </a:spcAft>
              <a:buFont typeface="Wingdings" panose="05000000000000000000" pitchFamily="2" charset="2"/>
              <a:buChar char="§"/>
            </a:pPr>
            <a:r>
              <a:rPr lang="es-ES" sz="1100" dirty="0">
                <a:solidFill>
                  <a:schemeClr val="accent1"/>
                </a:solidFill>
              </a:rPr>
              <a:t>Docker images / Helm chart</a:t>
            </a:r>
            <a:endParaRPr lang="en-GB" sz="1100" dirty="0">
              <a:solidFill>
                <a:schemeClr val="accent1"/>
              </a:solidFill>
            </a:endParaRPr>
          </a:p>
        </p:txBody>
      </p:sp>
      <p:sp>
        <p:nvSpPr>
          <p:cNvPr id="31" name="Rectangle 30"/>
          <p:cNvSpPr/>
          <p:nvPr/>
        </p:nvSpPr>
        <p:spPr>
          <a:xfrm>
            <a:off x="4833232" y="2946565"/>
            <a:ext cx="2674015" cy="1738938"/>
          </a:xfrm>
          <a:prstGeom prst="rect">
            <a:avLst/>
          </a:prstGeom>
        </p:spPr>
        <p:txBody>
          <a:bodyPr wrap="square">
            <a:spAutoFit/>
          </a:bodyPr>
          <a:lstStyle/>
          <a:p>
            <a:pPr marL="144000" indent="-144000">
              <a:spcBef>
                <a:spcPts val="300"/>
              </a:spcBef>
              <a:spcAft>
                <a:spcPts val="300"/>
              </a:spcAft>
              <a:buFont typeface="Wingdings" panose="05000000000000000000" pitchFamily="2" charset="2"/>
              <a:buChar char="§"/>
            </a:pPr>
            <a:r>
              <a:rPr lang="en-GB" sz="1100" dirty="0">
                <a:solidFill>
                  <a:schemeClr val="accent1"/>
                </a:solidFill>
              </a:rPr>
              <a:t>Control Center for monitoring</a:t>
            </a:r>
          </a:p>
          <a:p>
            <a:pPr marL="144000" indent="-144000">
              <a:spcBef>
                <a:spcPts val="300"/>
              </a:spcBef>
              <a:spcAft>
                <a:spcPts val="300"/>
              </a:spcAft>
              <a:buFont typeface="Wingdings" panose="05000000000000000000" pitchFamily="2" charset="2"/>
              <a:buChar char="§"/>
            </a:pPr>
            <a:r>
              <a:rPr lang="en-GB" sz="1100" dirty="0">
                <a:solidFill>
                  <a:schemeClr val="accent1"/>
                </a:solidFill>
              </a:rPr>
              <a:t>Multi Data Center Replication</a:t>
            </a:r>
          </a:p>
          <a:p>
            <a:pPr marL="144000" indent="-144000">
              <a:spcBef>
                <a:spcPts val="300"/>
              </a:spcBef>
              <a:spcAft>
                <a:spcPts val="300"/>
              </a:spcAft>
              <a:buFont typeface="Wingdings" panose="05000000000000000000" pitchFamily="2" charset="2"/>
              <a:buChar char="§"/>
            </a:pPr>
            <a:r>
              <a:rPr lang="es-ES" sz="1100" dirty="0">
                <a:solidFill>
                  <a:schemeClr val="accent1"/>
                </a:solidFill>
              </a:rPr>
              <a:t>Confluent Cloud – Kafka as a Service</a:t>
            </a:r>
          </a:p>
          <a:p>
            <a:pPr marL="601200" lvl="1" indent="-144000">
              <a:spcBef>
                <a:spcPts val="300"/>
              </a:spcBef>
              <a:spcAft>
                <a:spcPts val="300"/>
              </a:spcAft>
              <a:buFont typeface="Wingdings" panose="05000000000000000000" pitchFamily="2" charset="2"/>
              <a:buChar char="§"/>
            </a:pPr>
            <a:r>
              <a:rPr lang="es-ES" sz="1100" dirty="0">
                <a:solidFill>
                  <a:schemeClr val="accent1"/>
                </a:solidFill>
              </a:rPr>
              <a:t>AWS</a:t>
            </a:r>
          </a:p>
          <a:p>
            <a:pPr marL="601200" lvl="1" indent="-144000">
              <a:spcBef>
                <a:spcPts val="300"/>
              </a:spcBef>
              <a:spcAft>
                <a:spcPts val="300"/>
              </a:spcAft>
              <a:buFont typeface="Wingdings" panose="05000000000000000000" pitchFamily="2" charset="2"/>
              <a:buChar char="§"/>
            </a:pPr>
            <a:r>
              <a:rPr lang="es-ES" sz="1100" dirty="0">
                <a:solidFill>
                  <a:schemeClr val="accent1"/>
                </a:solidFill>
              </a:rPr>
              <a:t>GCP</a:t>
            </a:r>
          </a:p>
          <a:p>
            <a:pPr marL="144000" indent="-144000">
              <a:spcBef>
                <a:spcPts val="300"/>
              </a:spcBef>
              <a:spcAft>
                <a:spcPts val="300"/>
              </a:spcAft>
              <a:buFont typeface="Wingdings" panose="05000000000000000000" pitchFamily="2" charset="2"/>
              <a:buChar char="§"/>
            </a:pPr>
            <a:r>
              <a:rPr lang="es-ES" sz="1100" dirty="0">
                <a:solidFill>
                  <a:schemeClr val="accent1"/>
                </a:solidFill>
              </a:rPr>
              <a:t>Trainings &amp; certification</a:t>
            </a:r>
            <a:endParaRPr lang="en-GB" sz="1100" dirty="0">
              <a:solidFill>
                <a:schemeClr val="accent1"/>
              </a:solidFill>
            </a:endParaRPr>
          </a:p>
          <a:p>
            <a:pPr marL="144000" indent="-144000">
              <a:spcBef>
                <a:spcPts val="300"/>
              </a:spcBef>
              <a:spcAft>
                <a:spcPts val="300"/>
              </a:spcAft>
              <a:buFont typeface="Wingdings" panose="05000000000000000000" pitchFamily="2" charset="2"/>
              <a:buChar char="§"/>
            </a:pPr>
            <a:r>
              <a:rPr lang="en-GB" sz="1100" dirty="0">
                <a:solidFill>
                  <a:schemeClr val="accent1"/>
                </a:solidFill>
              </a:rPr>
              <a:t>24/7 Support</a:t>
            </a:r>
          </a:p>
        </p:txBody>
      </p:sp>
      <p:pic>
        <p:nvPicPr>
          <p:cNvPr id="32" name="Picture 2" descr="@confluentinc"/>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70279" y="712450"/>
            <a:ext cx="885160" cy="88516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EDEM Escuela de Empresarios, Fundación de la Comunidad Valenciana -  Asociación Valenciana de Fundaciones de la CV">
            <a:extLst>
              <a:ext uri="{FF2B5EF4-FFF2-40B4-BE49-F238E27FC236}">
                <a16:creationId xmlns:a16="http://schemas.microsoft.com/office/drawing/2014/main" id="{2A44371F-B081-47AE-85C9-11B39D0371B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48552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el 1"/>
          <p:cNvSpPr>
            <a:spLocks noGrp="1"/>
          </p:cNvSpPr>
          <p:nvPr>
            <p:ph type="title"/>
          </p:nvPr>
        </p:nvSpPr>
        <p:spPr/>
        <p:txBody>
          <a:bodyPr/>
          <a:lstStyle/>
          <a:p>
            <a:r>
              <a:rPr lang="en-GB" sz="2400" noProof="0" dirty="0"/>
              <a:t>Architecture overview</a:t>
            </a:r>
            <a:endParaRPr lang="en-GB" noProof="0" dirty="0"/>
          </a:p>
        </p:txBody>
      </p:sp>
      <p:sp>
        <p:nvSpPr>
          <p:cNvPr id="3" name="Date Placeholder 2"/>
          <p:cNvSpPr>
            <a:spLocks noGrp="1"/>
          </p:cNvSpPr>
          <p:nvPr>
            <p:ph type="dt" sz="half" idx="2"/>
          </p:nvPr>
        </p:nvSpPr>
        <p:spPr/>
        <p:txBody>
          <a:bodyPr/>
          <a:lstStyle/>
          <a:p>
            <a:pPr defTabSz="685800"/>
            <a:fld id="{F083F41A-041A-4006-B4DB-57C47C38AE86}" type="datetime1">
              <a:rPr lang="en-GB" smtClean="0"/>
              <a:t>02/12/2021</a:t>
            </a:fld>
            <a:endParaRPr lang="en-GB" dirty="0"/>
          </a:p>
        </p:txBody>
      </p:sp>
      <p:sp>
        <p:nvSpPr>
          <p:cNvPr id="58" name="Text Placeholder 57"/>
          <p:cNvSpPr>
            <a:spLocks noGrp="1"/>
          </p:cNvSpPr>
          <p:nvPr>
            <p:ph type="body" sz="quarter" idx="12"/>
          </p:nvPr>
        </p:nvSpPr>
        <p:spPr/>
        <p:txBody>
          <a:bodyPr/>
          <a:lstStyle/>
          <a:p>
            <a:endParaRPr lang="en-US"/>
          </a:p>
        </p:txBody>
      </p:sp>
      <p:sp>
        <p:nvSpPr>
          <p:cNvPr id="6" name="Footer Placeholder 5"/>
          <p:cNvSpPr>
            <a:spLocks noGrp="1"/>
          </p:cNvSpPr>
          <p:nvPr>
            <p:ph type="ftr" sz="quarter" idx="13"/>
          </p:nvPr>
        </p:nvSpPr>
        <p:spPr/>
        <p:txBody>
          <a:bodyPr/>
          <a:lstStyle/>
          <a:p>
            <a:r>
              <a:rPr lang="en-US"/>
              <a:t>Type here if  add info needed  for every slide</a:t>
            </a:r>
            <a:endParaRPr lang="en-US" dirty="0"/>
          </a:p>
        </p:txBody>
      </p:sp>
      <p:sp>
        <p:nvSpPr>
          <p:cNvPr id="8" name="Rectangle 7"/>
          <p:cNvSpPr/>
          <p:nvPr/>
        </p:nvSpPr>
        <p:spPr>
          <a:xfrm>
            <a:off x="6794082" y="1375381"/>
            <a:ext cx="1313740" cy="2474699"/>
          </a:xfrm>
          <a:prstGeom prst="rect">
            <a:avLst/>
          </a:prstGeom>
          <a:noFill/>
          <a:ln w="127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grpSp>
        <p:nvGrpSpPr>
          <p:cNvPr id="9" name="Group 8"/>
          <p:cNvGrpSpPr/>
          <p:nvPr/>
        </p:nvGrpSpPr>
        <p:grpSpPr>
          <a:xfrm>
            <a:off x="6412126" y="3612233"/>
            <a:ext cx="754662" cy="875407"/>
            <a:chOff x="6077336" y="3685663"/>
            <a:chExt cx="754662" cy="875407"/>
          </a:xfrm>
        </p:grpSpPr>
        <p:grpSp>
          <p:nvGrpSpPr>
            <p:cNvPr id="10" name="Group 9"/>
            <p:cNvGrpSpPr/>
            <p:nvPr/>
          </p:nvGrpSpPr>
          <p:grpSpPr>
            <a:xfrm>
              <a:off x="6077336" y="3685663"/>
              <a:ext cx="754662" cy="875407"/>
              <a:chOff x="7231711" y="1052713"/>
              <a:chExt cx="1144680" cy="1327828"/>
            </a:xfrm>
          </p:grpSpPr>
          <p:sp>
            <p:nvSpPr>
              <p:cNvPr id="12" name="Hexagon 11"/>
              <p:cNvSpPr/>
              <p:nvPr/>
            </p:nvSpPr>
            <p:spPr>
              <a:xfrm rot="16200000">
                <a:off x="7140137" y="1144287"/>
                <a:ext cx="1327828" cy="1144680"/>
              </a:xfrm>
              <a:prstGeom prst="hexagon">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 name="Hexagon 12"/>
              <p:cNvSpPr/>
              <p:nvPr/>
            </p:nvSpPr>
            <p:spPr>
              <a:xfrm rot="16200000">
                <a:off x="7253738" y="1242226"/>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pic>
          <p:nvPicPr>
            <p:cNvPr id="11" name="Picture 2" descr="Resultado de imagen de zookeeper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89219" y="3949865"/>
              <a:ext cx="578209" cy="31271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8258943" y="1997867"/>
            <a:ext cx="517067" cy="599797"/>
            <a:chOff x="7891893" y="1185046"/>
            <a:chExt cx="517067" cy="599797"/>
          </a:xfrm>
        </p:grpSpPr>
        <p:grpSp>
          <p:nvGrpSpPr>
            <p:cNvPr id="15" name="Group 14"/>
            <p:cNvGrpSpPr/>
            <p:nvPr/>
          </p:nvGrpSpPr>
          <p:grpSpPr>
            <a:xfrm>
              <a:off x="7891893" y="1185046"/>
              <a:ext cx="517067" cy="599797"/>
              <a:chOff x="6708741" y="967041"/>
              <a:chExt cx="1144680" cy="1327828"/>
            </a:xfrm>
          </p:grpSpPr>
          <p:sp>
            <p:nvSpPr>
              <p:cNvPr id="17" name="Hexagon 16"/>
              <p:cNvSpPr/>
              <p:nvPr/>
            </p:nvSpPr>
            <p:spPr>
              <a:xfrm rot="16200000">
                <a:off x="6617167" y="1058615"/>
                <a:ext cx="1327828" cy="1144680"/>
              </a:xfrm>
              <a:prstGeom prst="hexagon">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8" name="Hexagon 17"/>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grpSp>
        <p:sp>
          <p:nvSpPr>
            <p:cNvPr id="16" name="TextBox 15"/>
            <p:cNvSpPr txBox="1"/>
            <p:nvPr/>
          </p:nvSpPr>
          <p:spPr>
            <a:xfrm>
              <a:off x="7971691" y="1438777"/>
              <a:ext cx="357470" cy="92333"/>
            </a:xfrm>
            <a:prstGeom prst="rect">
              <a:avLst/>
            </a:prstGeom>
            <a:noFill/>
          </p:spPr>
          <p:txBody>
            <a:bodyPr wrap="none" lIns="0" tIns="0" rIns="0" bIns="0" rtlCol="0">
              <a:spAutoFit/>
            </a:bodyPr>
            <a:lstStyle/>
            <a:p>
              <a:r>
                <a:rPr lang="es-ES" sz="600" dirty="0"/>
                <a:t>Consumer</a:t>
              </a:r>
              <a:endParaRPr lang="en-GB" sz="1400" dirty="0" err="1"/>
            </a:p>
          </p:txBody>
        </p:sp>
      </p:grpSp>
      <p:grpSp>
        <p:nvGrpSpPr>
          <p:cNvPr id="19" name="Group 18"/>
          <p:cNvGrpSpPr/>
          <p:nvPr/>
        </p:nvGrpSpPr>
        <p:grpSpPr>
          <a:xfrm>
            <a:off x="8276244" y="2642452"/>
            <a:ext cx="517067" cy="599797"/>
            <a:chOff x="7891893" y="1185046"/>
            <a:chExt cx="517067" cy="599797"/>
          </a:xfrm>
        </p:grpSpPr>
        <p:grpSp>
          <p:nvGrpSpPr>
            <p:cNvPr id="20" name="Group 19"/>
            <p:cNvGrpSpPr/>
            <p:nvPr/>
          </p:nvGrpSpPr>
          <p:grpSpPr>
            <a:xfrm>
              <a:off x="7891893" y="1185046"/>
              <a:ext cx="517067" cy="599797"/>
              <a:chOff x="6708741" y="967041"/>
              <a:chExt cx="1144680" cy="1327828"/>
            </a:xfrm>
          </p:grpSpPr>
          <p:sp>
            <p:nvSpPr>
              <p:cNvPr id="22" name="Hexagon 21"/>
              <p:cNvSpPr/>
              <p:nvPr/>
            </p:nvSpPr>
            <p:spPr>
              <a:xfrm rot="16200000">
                <a:off x="6617167" y="1058615"/>
                <a:ext cx="1327828" cy="1144680"/>
              </a:xfrm>
              <a:prstGeom prst="hexagon">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23" name="Hexagon 22"/>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grpSp>
        <p:sp>
          <p:nvSpPr>
            <p:cNvPr id="21" name="TextBox 20"/>
            <p:cNvSpPr txBox="1"/>
            <p:nvPr/>
          </p:nvSpPr>
          <p:spPr>
            <a:xfrm>
              <a:off x="7971691" y="1438777"/>
              <a:ext cx="357470" cy="92333"/>
            </a:xfrm>
            <a:prstGeom prst="rect">
              <a:avLst/>
            </a:prstGeom>
            <a:noFill/>
          </p:spPr>
          <p:txBody>
            <a:bodyPr wrap="none" lIns="0" tIns="0" rIns="0" bIns="0" rtlCol="0">
              <a:spAutoFit/>
            </a:bodyPr>
            <a:lstStyle/>
            <a:p>
              <a:r>
                <a:rPr lang="es-ES" sz="600" dirty="0"/>
                <a:t>Consumer</a:t>
              </a:r>
              <a:endParaRPr lang="en-GB" sz="1400" dirty="0" err="1"/>
            </a:p>
          </p:txBody>
        </p:sp>
      </p:grpSp>
      <p:grpSp>
        <p:nvGrpSpPr>
          <p:cNvPr id="24" name="Group 23"/>
          <p:cNvGrpSpPr/>
          <p:nvPr/>
        </p:nvGrpSpPr>
        <p:grpSpPr>
          <a:xfrm>
            <a:off x="5935806" y="1979275"/>
            <a:ext cx="517067" cy="599797"/>
            <a:chOff x="7891893" y="1185046"/>
            <a:chExt cx="517067" cy="599797"/>
          </a:xfrm>
        </p:grpSpPr>
        <p:grpSp>
          <p:nvGrpSpPr>
            <p:cNvPr id="25" name="Group 24"/>
            <p:cNvGrpSpPr/>
            <p:nvPr/>
          </p:nvGrpSpPr>
          <p:grpSpPr>
            <a:xfrm>
              <a:off x="7891893" y="1185046"/>
              <a:ext cx="517067" cy="599797"/>
              <a:chOff x="6708741" y="967041"/>
              <a:chExt cx="1144680" cy="1327828"/>
            </a:xfrm>
          </p:grpSpPr>
          <p:sp>
            <p:nvSpPr>
              <p:cNvPr id="27" name="Hexagon 26"/>
              <p:cNvSpPr/>
              <p:nvPr/>
            </p:nvSpPr>
            <p:spPr>
              <a:xfrm rot="16200000">
                <a:off x="6617167" y="1058615"/>
                <a:ext cx="1327828" cy="1144680"/>
              </a:xfrm>
              <a:prstGeom prst="hexagon">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28" name="Hexagon 27"/>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grpSp>
        <p:sp>
          <p:nvSpPr>
            <p:cNvPr id="26" name="TextBox 25"/>
            <p:cNvSpPr txBox="1"/>
            <p:nvPr/>
          </p:nvSpPr>
          <p:spPr>
            <a:xfrm>
              <a:off x="7985510" y="1438777"/>
              <a:ext cx="314189" cy="92333"/>
            </a:xfrm>
            <a:prstGeom prst="rect">
              <a:avLst/>
            </a:prstGeom>
            <a:noFill/>
          </p:spPr>
          <p:txBody>
            <a:bodyPr wrap="none" lIns="0" tIns="0" rIns="0" bIns="0" rtlCol="0">
              <a:spAutoFit/>
            </a:bodyPr>
            <a:lstStyle/>
            <a:p>
              <a:r>
                <a:rPr lang="es-ES" sz="600" dirty="0"/>
                <a:t>Producer</a:t>
              </a:r>
              <a:endParaRPr lang="en-GB" sz="1400" dirty="0" err="1"/>
            </a:p>
          </p:txBody>
        </p:sp>
      </p:grpSp>
      <p:grpSp>
        <p:nvGrpSpPr>
          <p:cNvPr id="29" name="Group 28"/>
          <p:cNvGrpSpPr/>
          <p:nvPr/>
        </p:nvGrpSpPr>
        <p:grpSpPr>
          <a:xfrm>
            <a:off x="5955249" y="2637410"/>
            <a:ext cx="517067" cy="599797"/>
            <a:chOff x="7891893" y="1185046"/>
            <a:chExt cx="517067" cy="599797"/>
          </a:xfrm>
        </p:grpSpPr>
        <p:grpSp>
          <p:nvGrpSpPr>
            <p:cNvPr id="30" name="Group 29"/>
            <p:cNvGrpSpPr/>
            <p:nvPr/>
          </p:nvGrpSpPr>
          <p:grpSpPr>
            <a:xfrm>
              <a:off x="7891893" y="1185046"/>
              <a:ext cx="517067" cy="599797"/>
              <a:chOff x="6708741" y="967041"/>
              <a:chExt cx="1144680" cy="1327828"/>
            </a:xfrm>
          </p:grpSpPr>
          <p:sp>
            <p:nvSpPr>
              <p:cNvPr id="32" name="Hexagon 31"/>
              <p:cNvSpPr/>
              <p:nvPr/>
            </p:nvSpPr>
            <p:spPr>
              <a:xfrm rot="16200000">
                <a:off x="6617167" y="1058615"/>
                <a:ext cx="1327828" cy="1144680"/>
              </a:xfrm>
              <a:prstGeom prst="hexagon">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33" name="Hexagon 32"/>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grpSp>
        <p:sp>
          <p:nvSpPr>
            <p:cNvPr id="31" name="TextBox 30"/>
            <p:cNvSpPr txBox="1"/>
            <p:nvPr/>
          </p:nvSpPr>
          <p:spPr>
            <a:xfrm>
              <a:off x="7985510" y="1438777"/>
              <a:ext cx="314189" cy="92333"/>
            </a:xfrm>
            <a:prstGeom prst="rect">
              <a:avLst/>
            </a:prstGeom>
            <a:noFill/>
          </p:spPr>
          <p:txBody>
            <a:bodyPr wrap="none" lIns="0" tIns="0" rIns="0" bIns="0" rtlCol="0">
              <a:spAutoFit/>
            </a:bodyPr>
            <a:lstStyle/>
            <a:p>
              <a:r>
                <a:rPr lang="es-ES" sz="600" dirty="0"/>
                <a:t>Producer</a:t>
              </a:r>
              <a:endParaRPr lang="en-GB" sz="1400" dirty="0" err="1"/>
            </a:p>
          </p:txBody>
        </p:sp>
      </p:grpSp>
      <p:sp>
        <p:nvSpPr>
          <p:cNvPr id="34" name="Rectangle 33"/>
          <p:cNvSpPr/>
          <p:nvPr/>
        </p:nvSpPr>
        <p:spPr>
          <a:xfrm>
            <a:off x="961192" y="3751682"/>
            <a:ext cx="5229885" cy="984885"/>
          </a:xfrm>
          <a:prstGeom prst="rect">
            <a:avLst/>
          </a:prstGeom>
        </p:spPr>
        <p:txBody>
          <a:bodyPr wrap="square">
            <a:spAutoFit/>
          </a:bodyPr>
          <a:lstStyle/>
          <a:p>
            <a:r>
              <a:rPr lang="en-GB" sz="1400" b="1" dirty="0">
                <a:solidFill>
                  <a:schemeClr val="accent1"/>
                </a:solidFill>
              </a:rPr>
              <a:t>Zookeeper</a:t>
            </a:r>
            <a:r>
              <a:rPr lang="en-GB" sz="1400" dirty="0"/>
              <a:t> - Keeps track of status of the Kafka cluster nodes</a:t>
            </a:r>
            <a:endParaRPr lang="es-ES" dirty="0">
              <a:solidFill>
                <a:srgbClr val="6D7782"/>
              </a:solidFill>
            </a:endParaRPr>
          </a:p>
          <a:p>
            <a:pPr marL="285750" indent="-285750">
              <a:buFont typeface="Arial" panose="020B0604020202020204" pitchFamily="34" charset="0"/>
              <a:buChar char="•"/>
            </a:pPr>
            <a:r>
              <a:rPr lang="en-GB" sz="1100" dirty="0"/>
              <a:t>Membership of the cluster</a:t>
            </a:r>
          </a:p>
          <a:p>
            <a:pPr marL="285750" indent="-285750">
              <a:buFont typeface="Arial" panose="020B0604020202020204" pitchFamily="34" charset="0"/>
              <a:buChar char="•"/>
            </a:pPr>
            <a:r>
              <a:rPr lang="en-GB" sz="1100" b="1" dirty="0">
                <a:solidFill>
                  <a:schemeClr val="accent4"/>
                </a:solidFill>
              </a:rPr>
              <a:t>Controller</a:t>
            </a:r>
            <a:r>
              <a:rPr lang="en-GB" sz="1100" dirty="0"/>
              <a:t> election</a:t>
            </a:r>
            <a:endParaRPr lang="en-GB" sz="700" dirty="0"/>
          </a:p>
          <a:p>
            <a:pPr marL="285750" indent="-285750">
              <a:buFont typeface="Arial" panose="020B0604020202020204" pitchFamily="34" charset="0"/>
              <a:buChar char="•"/>
            </a:pPr>
            <a:r>
              <a:rPr lang="en-GB" sz="1100" dirty="0"/>
              <a:t>Configuration Of Topics</a:t>
            </a:r>
          </a:p>
          <a:p>
            <a:pPr marL="285750" indent="-285750">
              <a:buFont typeface="Arial" panose="020B0604020202020204" pitchFamily="34" charset="0"/>
              <a:buChar char="•"/>
            </a:pPr>
            <a:r>
              <a:rPr lang="en-GB" sz="1100" dirty="0"/>
              <a:t>Access control lists</a:t>
            </a:r>
          </a:p>
        </p:txBody>
      </p:sp>
      <p:grpSp>
        <p:nvGrpSpPr>
          <p:cNvPr id="35" name="Group 34"/>
          <p:cNvGrpSpPr/>
          <p:nvPr/>
        </p:nvGrpSpPr>
        <p:grpSpPr>
          <a:xfrm>
            <a:off x="6978051" y="2237205"/>
            <a:ext cx="949301" cy="686072"/>
            <a:chOff x="6449660" y="982135"/>
            <a:chExt cx="949301" cy="686072"/>
          </a:xfrm>
        </p:grpSpPr>
        <p:sp>
          <p:nvSpPr>
            <p:cNvPr id="36" name="Rounded Rectangle 35"/>
            <p:cNvSpPr/>
            <p:nvPr/>
          </p:nvSpPr>
          <p:spPr>
            <a:xfrm>
              <a:off x="6449660" y="982135"/>
              <a:ext cx="949301" cy="686072"/>
            </a:xfrm>
            <a:prstGeom prst="roundRect">
              <a:avLst/>
            </a:prstGeom>
            <a:solidFill>
              <a:schemeClr val="accent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sp>
          <p:nvSpPr>
            <p:cNvPr id="37" name="Rounded Rectangle 36"/>
            <p:cNvSpPr/>
            <p:nvPr/>
          </p:nvSpPr>
          <p:spPr>
            <a:xfrm>
              <a:off x="6500615" y="1042696"/>
              <a:ext cx="842506" cy="477368"/>
            </a:xfrm>
            <a:prstGeom prst="roundRect">
              <a:avLst/>
            </a:prstGeom>
            <a:gradFill flip="none" rotWithShape="1">
              <a:gsLst>
                <a:gs pos="0">
                  <a:schemeClr val="accent5">
                    <a:lumMod val="5000"/>
                    <a:lumOff val="95000"/>
                  </a:schemeClr>
                </a:gs>
                <a:gs pos="74000">
                  <a:schemeClr val="accent5">
                    <a:lumMod val="45000"/>
                    <a:lumOff val="55000"/>
                  </a:schemeClr>
                </a:gs>
                <a:gs pos="83000">
                  <a:schemeClr val="accent5">
                    <a:lumMod val="45000"/>
                    <a:lumOff val="55000"/>
                  </a:schemeClr>
                </a:gs>
                <a:gs pos="100000">
                  <a:schemeClr val="accent5">
                    <a:lumMod val="30000"/>
                    <a:lumOff val="70000"/>
                  </a:schemeClr>
                </a:gs>
              </a:gsLst>
              <a:lin ang="5400000" scaled="1"/>
              <a:tileRect/>
            </a:gradFill>
            <a:ln w="12700">
              <a:noFill/>
            </a:ln>
            <a:effectLst>
              <a:outerShdw blurRad="50800" dist="50800" dir="5400000" sx="99000" sy="99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pic>
          <p:nvPicPr>
            <p:cNvPr id="38" name="Picture 2" descr="Resultado de imagen de apache kafka"/>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97161" y="1074569"/>
              <a:ext cx="593548" cy="296774"/>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p:cNvSpPr txBox="1"/>
            <p:nvPr/>
          </p:nvSpPr>
          <p:spPr>
            <a:xfrm>
              <a:off x="7001505" y="1296133"/>
              <a:ext cx="302968" cy="123111"/>
            </a:xfrm>
            <a:prstGeom prst="rect">
              <a:avLst/>
            </a:prstGeom>
            <a:noFill/>
          </p:spPr>
          <p:txBody>
            <a:bodyPr wrap="none" lIns="0" tIns="0" rIns="0" bIns="0" rtlCol="0">
              <a:spAutoFit/>
            </a:bodyPr>
            <a:lstStyle/>
            <a:p>
              <a:r>
                <a:rPr lang="es-ES" sz="800" dirty="0"/>
                <a:t>Broker</a:t>
              </a:r>
              <a:endParaRPr lang="en-GB" sz="1400" dirty="0" err="1"/>
            </a:p>
          </p:txBody>
        </p:sp>
      </p:grpSp>
      <p:cxnSp>
        <p:nvCxnSpPr>
          <p:cNvPr id="40" name="Straight Arrow Connector 39"/>
          <p:cNvCxnSpPr/>
          <p:nvPr/>
        </p:nvCxnSpPr>
        <p:spPr bwMode="gray">
          <a:xfrm>
            <a:off x="6455702" y="2965560"/>
            <a:ext cx="338380" cy="0"/>
          </a:xfrm>
          <a:prstGeom prst="straightConnector1">
            <a:avLst/>
          </a:prstGeom>
          <a:ln w="19050">
            <a:solidFill>
              <a:schemeClr val="accent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bwMode="gray">
          <a:xfrm>
            <a:off x="6455702" y="2276603"/>
            <a:ext cx="338380" cy="0"/>
          </a:xfrm>
          <a:prstGeom prst="straightConnector1">
            <a:avLst/>
          </a:prstGeom>
          <a:ln w="19050">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bwMode="gray">
          <a:xfrm>
            <a:off x="8107822" y="2276603"/>
            <a:ext cx="168422" cy="0"/>
          </a:xfrm>
          <a:prstGeom prst="straightConnector1">
            <a:avLst/>
          </a:prstGeom>
          <a:ln w="19050">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956101" y="996551"/>
            <a:ext cx="4353657" cy="2154436"/>
          </a:xfrm>
          <a:prstGeom prst="rect">
            <a:avLst/>
          </a:prstGeom>
        </p:spPr>
        <p:txBody>
          <a:bodyPr wrap="square">
            <a:spAutoFit/>
          </a:bodyPr>
          <a:lstStyle/>
          <a:p>
            <a:r>
              <a:rPr lang="en-GB" sz="1600" b="1" dirty="0">
                <a:solidFill>
                  <a:schemeClr val="accent1"/>
                </a:solidFill>
              </a:rPr>
              <a:t>Brokers</a:t>
            </a:r>
            <a:r>
              <a:rPr lang="en-GB" sz="1600" dirty="0"/>
              <a:t> </a:t>
            </a:r>
          </a:p>
          <a:p>
            <a:pPr marL="285750" indent="-285750">
              <a:buFont typeface="Arial" panose="020B0604020202020204" pitchFamily="34" charset="0"/>
              <a:buChar char="•"/>
            </a:pPr>
            <a:r>
              <a:rPr lang="en-GB" sz="1200" dirty="0"/>
              <a:t>Operate as part of a cluster.</a:t>
            </a:r>
          </a:p>
          <a:p>
            <a:pPr marL="285750" indent="-285750">
              <a:buFont typeface="Arial" panose="020B0604020202020204" pitchFamily="34" charset="0"/>
              <a:buChar char="•"/>
            </a:pPr>
            <a:r>
              <a:rPr lang="es-ES" sz="1200" dirty="0"/>
              <a:t>Store topic partitions and replicas</a:t>
            </a:r>
          </a:p>
          <a:p>
            <a:pPr marL="742950" lvl="1" indent="-285750">
              <a:buFont typeface="Arial" panose="020B0604020202020204" pitchFamily="34" charset="0"/>
              <a:buChar char="•"/>
            </a:pPr>
            <a:r>
              <a:rPr lang="en-GB" sz="1100" dirty="0"/>
              <a:t>Data written to Kafka is written to disk and replicated for fault-tolerance</a:t>
            </a:r>
            <a:endParaRPr lang="en-GB" sz="900" dirty="0"/>
          </a:p>
          <a:p>
            <a:pPr marL="285750" indent="-285750">
              <a:buFont typeface="Arial" panose="020B0604020202020204" pitchFamily="34" charset="0"/>
              <a:buChar char="•"/>
            </a:pPr>
            <a:r>
              <a:rPr lang="en-GB" sz="1200" dirty="0"/>
              <a:t>Receive messages from producers. </a:t>
            </a:r>
          </a:p>
          <a:p>
            <a:pPr marL="742950" lvl="1" indent="-285750">
              <a:buFont typeface="Arial" panose="020B0604020202020204" pitchFamily="34" charset="0"/>
              <a:buChar char="•"/>
            </a:pPr>
            <a:r>
              <a:rPr lang="en-GB" sz="1200" dirty="0"/>
              <a:t>Assigns </a:t>
            </a:r>
            <a:r>
              <a:rPr lang="en-GB" sz="1200" i="1" dirty="0">
                <a:solidFill>
                  <a:schemeClr val="accent4"/>
                </a:solidFill>
              </a:rPr>
              <a:t>offsets</a:t>
            </a:r>
            <a:r>
              <a:rPr lang="en-GB" sz="1200" dirty="0"/>
              <a:t> to them 	</a:t>
            </a:r>
          </a:p>
          <a:p>
            <a:pPr marL="742950" lvl="1" indent="-285750">
              <a:buFont typeface="Arial" panose="020B0604020202020204" pitchFamily="34" charset="0"/>
              <a:buChar char="•"/>
            </a:pPr>
            <a:r>
              <a:rPr lang="en-GB" sz="1200" dirty="0"/>
              <a:t>Commits the messages to storage on disk.</a:t>
            </a:r>
          </a:p>
          <a:p>
            <a:pPr marL="285750" indent="-285750">
              <a:buFont typeface="Arial" panose="020B0604020202020204" pitchFamily="34" charset="0"/>
              <a:buChar char="•"/>
            </a:pPr>
            <a:r>
              <a:rPr lang="en-GB" sz="1200" dirty="0"/>
              <a:t>Serve consumers</a:t>
            </a:r>
          </a:p>
          <a:p>
            <a:pPr marL="742950" lvl="1" indent="-285750">
              <a:buFont typeface="Arial" panose="020B0604020202020204" pitchFamily="34" charset="0"/>
              <a:buChar char="•"/>
            </a:pPr>
            <a:r>
              <a:rPr lang="en-GB" sz="1200" dirty="0"/>
              <a:t>Respond to fetch requests for partitions </a:t>
            </a:r>
          </a:p>
          <a:p>
            <a:pPr marL="742950" lvl="1" indent="-285750">
              <a:buFont typeface="Arial" panose="020B0604020202020204" pitchFamily="34" charset="0"/>
              <a:buChar char="•"/>
            </a:pPr>
            <a:r>
              <a:rPr lang="en-GB" sz="1200" dirty="0"/>
              <a:t>Responding with the messages.</a:t>
            </a:r>
            <a:endParaRPr lang="en-GB" sz="1400" dirty="0"/>
          </a:p>
        </p:txBody>
      </p:sp>
      <p:sp>
        <p:nvSpPr>
          <p:cNvPr id="44" name="Rectangle 43"/>
          <p:cNvSpPr/>
          <p:nvPr/>
        </p:nvSpPr>
        <p:spPr>
          <a:xfrm>
            <a:off x="1251961" y="3035152"/>
            <a:ext cx="4154637" cy="577081"/>
          </a:xfrm>
          <a:prstGeom prst="rect">
            <a:avLst/>
          </a:prstGeom>
        </p:spPr>
        <p:txBody>
          <a:bodyPr wrap="square">
            <a:spAutoFit/>
          </a:bodyPr>
          <a:lstStyle/>
          <a:p>
            <a:pPr lvl="1"/>
            <a:r>
              <a:rPr lang="en-GB" sz="1050" dirty="0"/>
              <a:t>Kafka uses a </a:t>
            </a:r>
            <a:r>
              <a:rPr lang="en-GB" sz="1050" b="1" dirty="0">
                <a:solidFill>
                  <a:schemeClr val="accent4"/>
                </a:solidFill>
              </a:rPr>
              <a:t>zero-copy</a:t>
            </a:r>
            <a:r>
              <a:rPr lang="en-GB" sz="1050" dirty="0"/>
              <a:t> method to send the messages, from the file directly to the network channel without any intermediate buffers, for a better performance.</a:t>
            </a:r>
          </a:p>
        </p:txBody>
      </p:sp>
      <p:grpSp>
        <p:nvGrpSpPr>
          <p:cNvPr id="45" name="Group 44"/>
          <p:cNvGrpSpPr/>
          <p:nvPr/>
        </p:nvGrpSpPr>
        <p:grpSpPr>
          <a:xfrm>
            <a:off x="6973989" y="2986162"/>
            <a:ext cx="949301" cy="686072"/>
            <a:chOff x="6449660" y="982135"/>
            <a:chExt cx="949301" cy="686072"/>
          </a:xfrm>
        </p:grpSpPr>
        <p:sp>
          <p:nvSpPr>
            <p:cNvPr id="46" name="Rounded Rectangle 45"/>
            <p:cNvSpPr/>
            <p:nvPr/>
          </p:nvSpPr>
          <p:spPr>
            <a:xfrm>
              <a:off x="6449660" y="982135"/>
              <a:ext cx="949301" cy="686072"/>
            </a:xfrm>
            <a:prstGeom prst="round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sp>
          <p:nvSpPr>
            <p:cNvPr id="47" name="Rounded Rectangle 46"/>
            <p:cNvSpPr/>
            <p:nvPr/>
          </p:nvSpPr>
          <p:spPr>
            <a:xfrm>
              <a:off x="6500615" y="1042696"/>
              <a:ext cx="842506" cy="477368"/>
            </a:xfrm>
            <a:prstGeom prst="roundRect">
              <a:avLst/>
            </a:prstGeom>
            <a:gradFill flip="none" rotWithShape="1">
              <a:gsLst>
                <a:gs pos="0">
                  <a:schemeClr val="accent5">
                    <a:lumMod val="5000"/>
                    <a:lumOff val="95000"/>
                  </a:schemeClr>
                </a:gs>
                <a:gs pos="74000">
                  <a:schemeClr val="accent5">
                    <a:lumMod val="45000"/>
                    <a:lumOff val="55000"/>
                  </a:schemeClr>
                </a:gs>
                <a:gs pos="83000">
                  <a:schemeClr val="accent5">
                    <a:lumMod val="45000"/>
                    <a:lumOff val="55000"/>
                  </a:schemeClr>
                </a:gs>
                <a:gs pos="100000">
                  <a:schemeClr val="accent5">
                    <a:lumMod val="30000"/>
                    <a:lumOff val="70000"/>
                  </a:schemeClr>
                </a:gs>
              </a:gsLst>
              <a:lin ang="5400000" scaled="1"/>
              <a:tileRect/>
            </a:gradFill>
            <a:ln w="12700">
              <a:noFill/>
            </a:ln>
            <a:effectLst>
              <a:outerShdw blurRad="50800" dist="50800" dir="5400000" sx="99000" sy="99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pic>
          <p:nvPicPr>
            <p:cNvPr id="48" name="Picture 2" descr="Resultado de imagen de apache kafka"/>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97161" y="1074569"/>
              <a:ext cx="593548" cy="296774"/>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p:cNvSpPr txBox="1"/>
            <p:nvPr/>
          </p:nvSpPr>
          <p:spPr>
            <a:xfrm>
              <a:off x="7001505" y="1296133"/>
              <a:ext cx="302968" cy="123111"/>
            </a:xfrm>
            <a:prstGeom prst="rect">
              <a:avLst/>
            </a:prstGeom>
            <a:noFill/>
          </p:spPr>
          <p:txBody>
            <a:bodyPr wrap="none" lIns="0" tIns="0" rIns="0" bIns="0" rtlCol="0">
              <a:spAutoFit/>
            </a:bodyPr>
            <a:lstStyle/>
            <a:p>
              <a:r>
                <a:rPr lang="es-ES" sz="800" dirty="0"/>
                <a:t>Broker</a:t>
              </a:r>
              <a:endParaRPr lang="en-GB" sz="1400" dirty="0" err="1"/>
            </a:p>
          </p:txBody>
        </p:sp>
      </p:grpSp>
      <p:grpSp>
        <p:nvGrpSpPr>
          <p:cNvPr id="50" name="Group 49"/>
          <p:cNvGrpSpPr/>
          <p:nvPr/>
        </p:nvGrpSpPr>
        <p:grpSpPr>
          <a:xfrm>
            <a:off x="6985891" y="1490572"/>
            <a:ext cx="949301" cy="686072"/>
            <a:chOff x="6449660" y="982135"/>
            <a:chExt cx="949301" cy="686072"/>
          </a:xfrm>
        </p:grpSpPr>
        <p:sp>
          <p:nvSpPr>
            <p:cNvPr id="51" name="Rounded Rectangle 50"/>
            <p:cNvSpPr/>
            <p:nvPr/>
          </p:nvSpPr>
          <p:spPr>
            <a:xfrm>
              <a:off x="6449660" y="982135"/>
              <a:ext cx="949301" cy="686072"/>
            </a:xfrm>
            <a:prstGeom prst="round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sp>
          <p:nvSpPr>
            <p:cNvPr id="52" name="Rounded Rectangle 51"/>
            <p:cNvSpPr/>
            <p:nvPr/>
          </p:nvSpPr>
          <p:spPr>
            <a:xfrm>
              <a:off x="6500615" y="1042696"/>
              <a:ext cx="842506" cy="477368"/>
            </a:xfrm>
            <a:prstGeom prst="roundRect">
              <a:avLst/>
            </a:prstGeom>
            <a:gradFill flip="none" rotWithShape="1">
              <a:gsLst>
                <a:gs pos="0">
                  <a:schemeClr val="accent5">
                    <a:lumMod val="5000"/>
                    <a:lumOff val="95000"/>
                  </a:schemeClr>
                </a:gs>
                <a:gs pos="74000">
                  <a:schemeClr val="accent5">
                    <a:lumMod val="45000"/>
                    <a:lumOff val="55000"/>
                  </a:schemeClr>
                </a:gs>
                <a:gs pos="83000">
                  <a:schemeClr val="accent5">
                    <a:lumMod val="45000"/>
                    <a:lumOff val="55000"/>
                  </a:schemeClr>
                </a:gs>
                <a:gs pos="100000">
                  <a:schemeClr val="accent5">
                    <a:lumMod val="30000"/>
                    <a:lumOff val="70000"/>
                  </a:schemeClr>
                </a:gs>
              </a:gsLst>
              <a:lin ang="5400000" scaled="1"/>
              <a:tileRect/>
            </a:gradFill>
            <a:ln w="12700">
              <a:noFill/>
            </a:ln>
            <a:effectLst>
              <a:outerShdw blurRad="50800" dist="50800" dir="5400000" sx="99000" sy="99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pic>
          <p:nvPicPr>
            <p:cNvPr id="53" name="Picture 2" descr="Resultado de imagen de apache kafka"/>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97161" y="1074569"/>
              <a:ext cx="593548" cy="296774"/>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7001505" y="1296133"/>
              <a:ext cx="302968" cy="123111"/>
            </a:xfrm>
            <a:prstGeom prst="rect">
              <a:avLst/>
            </a:prstGeom>
            <a:noFill/>
          </p:spPr>
          <p:txBody>
            <a:bodyPr wrap="none" lIns="0" tIns="0" rIns="0" bIns="0" rtlCol="0">
              <a:spAutoFit/>
            </a:bodyPr>
            <a:lstStyle/>
            <a:p>
              <a:r>
                <a:rPr lang="es-ES" sz="800" dirty="0"/>
                <a:t>Broker</a:t>
              </a:r>
              <a:endParaRPr lang="en-GB" sz="1400" dirty="0" err="1"/>
            </a:p>
          </p:txBody>
        </p:sp>
      </p:grpSp>
      <p:cxnSp>
        <p:nvCxnSpPr>
          <p:cNvPr id="55" name="Straight Arrow Connector 54"/>
          <p:cNvCxnSpPr/>
          <p:nvPr/>
        </p:nvCxnSpPr>
        <p:spPr bwMode="gray">
          <a:xfrm>
            <a:off x="8098584" y="2937307"/>
            <a:ext cx="168422" cy="0"/>
          </a:xfrm>
          <a:prstGeom prst="straightConnector1">
            <a:avLst/>
          </a:prstGeom>
          <a:ln w="19050">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7737581" y="3694267"/>
            <a:ext cx="325410" cy="123111"/>
          </a:xfrm>
          <a:prstGeom prst="rect">
            <a:avLst/>
          </a:prstGeom>
          <a:noFill/>
        </p:spPr>
        <p:txBody>
          <a:bodyPr wrap="none" lIns="0" tIns="0" rIns="0" bIns="0" rtlCol="0">
            <a:spAutoFit/>
          </a:bodyPr>
          <a:lstStyle/>
          <a:p>
            <a:r>
              <a:rPr lang="es-ES" sz="800" dirty="0"/>
              <a:t>Cluster</a:t>
            </a:r>
            <a:endParaRPr lang="en-GB" sz="1400" dirty="0" err="1"/>
          </a:p>
        </p:txBody>
      </p:sp>
      <p:pic>
        <p:nvPicPr>
          <p:cNvPr id="59" name="Picture 2" descr="EDEM Escuela de Empresarios, Fundación de la Comunidad Valenciana -  Asociación Valenciana de Fundaciones de la CV">
            <a:extLst>
              <a:ext uri="{FF2B5EF4-FFF2-40B4-BE49-F238E27FC236}">
                <a16:creationId xmlns:a16="http://schemas.microsoft.com/office/drawing/2014/main" id="{7B622978-DBE6-4DE4-A95E-1FD92CE5110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63195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8912066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5" name="Objek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3" name="Rechteck 12" hidden="1">
            <a:extLst>
              <a:ext uri="{FF2B5EF4-FFF2-40B4-BE49-F238E27FC236}">
                <a16:creationId xmlns:a16="http://schemas.microsoft.com/office/drawing/2014/main" id="{A96F19FA-01FA-48A5-837A-5C699F883D76}"/>
              </a:ext>
            </a:extLst>
          </p:cNvPr>
          <p:cNvSpPr/>
          <p:nvPr>
            <p:custDataLst>
              <p:tags r:id="rId3"/>
            </p:custDataLst>
          </p:nvPr>
        </p:nvSpPr>
        <p:spPr bwMode="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000" b="1" dirty="0">
              <a:solidFill>
                <a:schemeClr val="tx1"/>
              </a:solidFill>
              <a:latin typeface="Arial" panose="020B0604020202020204" pitchFamily="34" charset="0"/>
              <a:cs typeface="+mj-cs"/>
              <a:sym typeface="Arial" panose="020B0604020202020204" pitchFamily="34" charset="0"/>
            </a:endParaRPr>
          </a:p>
        </p:txBody>
      </p:sp>
      <p:sp>
        <p:nvSpPr>
          <p:cNvPr id="9" name="Titel 8">
            <a:extLst>
              <a:ext uri="{FF2B5EF4-FFF2-40B4-BE49-F238E27FC236}">
                <a16:creationId xmlns:a16="http://schemas.microsoft.com/office/drawing/2014/main" id="{CB1FFA79-1D27-4E39-A518-DED6FDCF55C9}"/>
              </a:ext>
            </a:extLst>
          </p:cNvPr>
          <p:cNvSpPr>
            <a:spLocks noGrp="1"/>
          </p:cNvSpPr>
          <p:nvPr>
            <p:ph type="title"/>
          </p:nvPr>
        </p:nvSpPr>
        <p:spPr bwMode="gray">
          <a:xfrm>
            <a:off x="978102" y="634967"/>
            <a:ext cx="7185713" cy="276999"/>
          </a:xfrm>
        </p:spPr>
        <p:txBody>
          <a:bodyPr/>
          <a:lstStyle/>
          <a:p>
            <a:r>
              <a:rPr lang="en-GB" dirty="0"/>
              <a:t>Topics</a:t>
            </a:r>
          </a:p>
        </p:txBody>
      </p:sp>
      <p:sp>
        <p:nvSpPr>
          <p:cNvPr id="4" name="Datumsplatzhalter 3"/>
          <p:cNvSpPr>
            <a:spLocks noGrp="1"/>
          </p:cNvSpPr>
          <p:nvPr>
            <p:ph type="dt" sz="half" idx="2"/>
          </p:nvPr>
        </p:nvSpPr>
        <p:spPr bwMode="gray"/>
        <p:txBody>
          <a:bodyPr/>
          <a:lstStyle/>
          <a:p>
            <a:fld id="{DE0B9E72-B0CA-488A-8306-30DA057E72FA}" type="datetime1">
              <a:rPr lang="en-GB" smtClean="0"/>
              <a:t>02/12/2021</a:t>
            </a:fld>
            <a:endParaRPr lang="en-GB" dirty="0"/>
          </a:p>
        </p:txBody>
      </p:sp>
      <p:sp>
        <p:nvSpPr>
          <p:cNvPr id="12" name="Textplatzhalter 11">
            <a:extLst>
              <a:ext uri="{FF2B5EF4-FFF2-40B4-BE49-F238E27FC236}">
                <a16:creationId xmlns:a16="http://schemas.microsoft.com/office/drawing/2014/main" id="{90A57E07-C0E7-48EC-9286-8EEF3E870DBE}"/>
              </a:ext>
            </a:extLst>
          </p:cNvPr>
          <p:cNvSpPr>
            <a:spLocks noGrp="1"/>
          </p:cNvSpPr>
          <p:nvPr>
            <p:ph type="body" sz="quarter" idx="12"/>
          </p:nvPr>
        </p:nvSpPr>
        <p:spPr bwMode="gray"/>
        <p:txBody>
          <a:bodyPr/>
          <a:lstStyle/>
          <a:p>
            <a:endParaRPr lang="en-GB" dirty="0"/>
          </a:p>
        </p:txBody>
      </p:sp>
      <p:sp>
        <p:nvSpPr>
          <p:cNvPr id="3" name="Fußzeilenplatzhalter 2">
            <a:extLst>
              <a:ext uri="{FF2B5EF4-FFF2-40B4-BE49-F238E27FC236}">
                <a16:creationId xmlns:a16="http://schemas.microsoft.com/office/drawing/2014/main" id="{F4ED8E2B-2A44-46C0-B094-7B0A814E1F68}"/>
              </a:ext>
            </a:extLst>
          </p:cNvPr>
          <p:cNvSpPr>
            <a:spLocks noGrp="1"/>
          </p:cNvSpPr>
          <p:nvPr>
            <p:ph type="ftr" sz="quarter" idx="13"/>
          </p:nvPr>
        </p:nvSpPr>
        <p:spPr bwMode="gray"/>
        <p:txBody>
          <a:bodyPr/>
          <a:lstStyle/>
          <a:p>
            <a:r>
              <a:rPr lang="en-GB"/>
              <a:t>Type here if  add info needed  for every slide</a:t>
            </a:r>
            <a:endParaRPr lang="en-GB" dirty="0"/>
          </a:p>
        </p:txBody>
      </p:sp>
      <p:sp>
        <p:nvSpPr>
          <p:cNvPr id="37" name="Freihandform: Form 36">
            <a:extLst>
              <a:ext uri="{FF2B5EF4-FFF2-40B4-BE49-F238E27FC236}">
                <a16:creationId xmlns:a16="http://schemas.microsoft.com/office/drawing/2014/main" id="{DC2E0EB4-E641-4473-978D-99F90FEE1B6D}"/>
              </a:ext>
            </a:extLst>
          </p:cNvPr>
          <p:cNvSpPr>
            <a:spLocks/>
          </p:cNvSpPr>
          <p:nvPr/>
        </p:nvSpPr>
        <p:spPr bwMode="gray">
          <a:xfrm>
            <a:off x="981075" y="972000"/>
            <a:ext cx="144000" cy="144000"/>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dirty="0">
              <a:solidFill>
                <a:schemeClr val="tx1"/>
              </a:solidFill>
            </a:endParaRPr>
          </a:p>
        </p:txBody>
      </p:sp>
      <p:grpSp>
        <p:nvGrpSpPr>
          <p:cNvPr id="38" name="Group 37"/>
          <p:cNvGrpSpPr/>
          <p:nvPr/>
        </p:nvGrpSpPr>
        <p:grpSpPr>
          <a:xfrm>
            <a:off x="2071142" y="2219434"/>
            <a:ext cx="415295" cy="443775"/>
            <a:chOff x="4524551" y="3756113"/>
            <a:chExt cx="819227" cy="875407"/>
          </a:xfrm>
        </p:grpSpPr>
        <p:grpSp>
          <p:nvGrpSpPr>
            <p:cNvPr id="39" name="Group 38"/>
            <p:cNvGrpSpPr/>
            <p:nvPr/>
          </p:nvGrpSpPr>
          <p:grpSpPr>
            <a:xfrm>
              <a:off x="4524551" y="3756113"/>
              <a:ext cx="754662" cy="875407"/>
              <a:chOff x="6708741" y="967041"/>
              <a:chExt cx="1144680" cy="1327828"/>
            </a:xfrm>
          </p:grpSpPr>
          <p:sp>
            <p:nvSpPr>
              <p:cNvPr id="47" name="Hexagon 46"/>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55" name="Hexagon 54"/>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40" name="TextBox 39"/>
            <p:cNvSpPr txBox="1"/>
            <p:nvPr/>
          </p:nvSpPr>
          <p:spPr>
            <a:xfrm>
              <a:off x="4784306" y="3981998"/>
              <a:ext cx="559472" cy="149248"/>
            </a:xfrm>
            <a:prstGeom prst="rect">
              <a:avLst/>
            </a:prstGeom>
            <a:noFill/>
          </p:spPr>
          <p:txBody>
            <a:bodyPr wrap="square" lIns="0" tIns="0" rIns="0" bIns="0" rtlCol="0">
              <a:spAutoFit/>
            </a:bodyPr>
            <a:lstStyle/>
            <a:p>
              <a:r>
                <a:rPr lang="es-ES" sz="1400" b="1" dirty="0"/>
                <a:t>0</a:t>
              </a:r>
              <a:endParaRPr lang="en-GB" sz="1400" b="1" dirty="0" err="1"/>
            </a:p>
          </p:txBody>
        </p:sp>
      </p:grpSp>
      <p:grpSp>
        <p:nvGrpSpPr>
          <p:cNvPr id="56" name="Group 55"/>
          <p:cNvGrpSpPr/>
          <p:nvPr/>
        </p:nvGrpSpPr>
        <p:grpSpPr>
          <a:xfrm>
            <a:off x="2459399" y="2219434"/>
            <a:ext cx="415295" cy="443775"/>
            <a:chOff x="4524551" y="3756113"/>
            <a:chExt cx="819227" cy="875407"/>
          </a:xfrm>
        </p:grpSpPr>
        <p:grpSp>
          <p:nvGrpSpPr>
            <p:cNvPr id="57" name="Group 56"/>
            <p:cNvGrpSpPr/>
            <p:nvPr/>
          </p:nvGrpSpPr>
          <p:grpSpPr>
            <a:xfrm>
              <a:off x="4524551" y="3756113"/>
              <a:ext cx="754662" cy="875407"/>
              <a:chOff x="6708741" y="967041"/>
              <a:chExt cx="1144680" cy="1327828"/>
            </a:xfrm>
          </p:grpSpPr>
          <p:sp>
            <p:nvSpPr>
              <p:cNvPr id="59" name="Hexagon 58"/>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60" name="Hexagon 59"/>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58" name="TextBox 57"/>
            <p:cNvSpPr txBox="1"/>
            <p:nvPr/>
          </p:nvSpPr>
          <p:spPr>
            <a:xfrm>
              <a:off x="4784306" y="3981998"/>
              <a:ext cx="559472" cy="424993"/>
            </a:xfrm>
            <a:prstGeom prst="rect">
              <a:avLst/>
            </a:prstGeom>
            <a:noFill/>
          </p:spPr>
          <p:txBody>
            <a:bodyPr wrap="square" lIns="0" tIns="0" rIns="0" bIns="0" rtlCol="0">
              <a:spAutoFit/>
            </a:bodyPr>
            <a:lstStyle/>
            <a:p>
              <a:r>
                <a:rPr lang="es-ES" sz="1400" b="1" dirty="0"/>
                <a:t>1</a:t>
              </a:r>
              <a:endParaRPr lang="en-GB" sz="1400" b="1" dirty="0" err="1"/>
            </a:p>
          </p:txBody>
        </p:sp>
      </p:grpSp>
      <p:grpSp>
        <p:nvGrpSpPr>
          <p:cNvPr id="61" name="Group 60"/>
          <p:cNvGrpSpPr/>
          <p:nvPr/>
        </p:nvGrpSpPr>
        <p:grpSpPr>
          <a:xfrm>
            <a:off x="2849052" y="2219434"/>
            <a:ext cx="415295" cy="443775"/>
            <a:chOff x="4524551" y="3756113"/>
            <a:chExt cx="819227" cy="875407"/>
          </a:xfrm>
        </p:grpSpPr>
        <p:grpSp>
          <p:nvGrpSpPr>
            <p:cNvPr id="63" name="Group 62"/>
            <p:cNvGrpSpPr/>
            <p:nvPr/>
          </p:nvGrpSpPr>
          <p:grpSpPr>
            <a:xfrm>
              <a:off x="4524551" y="3756113"/>
              <a:ext cx="754662" cy="875407"/>
              <a:chOff x="6708741" y="967041"/>
              <a:chExt cx="1144680" cy="1327828"/>
            </a:xfrm>
          </p:grpSpPr>
          <p:sp>
            <p:nvSpPr>
              <p:cNvPr id="65" name="Hexagon 64"/>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66" name="Hexagon 65"/>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64" name="TextBox 63"/>
            <p:cNvSpPr txBox="1"/>
            <p:nvPr/>
          </p:nvSpPr>
          <p:spPr>
            <a:xfrm>
              <a:off x="4784306" y="3981998"/>
              <a:ext cx="559472" cy="424993"/>
            </a:xfrm>
            <a:prstGeom prst="rect">
              <a:avLst/>
            </a:prstGeom>
            <a:noFill/>
          </p:spPr>
          <p:txBody>
            <a:bodyPr wrap="square" lIns="0" tIns="0" rIns="0" bIns="0" rtlCol="0">
              <a:spAutoFit/>
            </a:bodyPr>
            <a:lstStyle/>
            <a:p>
              <a:r>
                <a:rPr lang="es-ES" sz="1400" b="1" dirty="0"/>
                <a:t>2</a:t>
              </a:r>
              <a:endParaRPr lang="en-GB" sz="1400" b="1" dirty="0" err="1"/>
            </a:p>
          </p:txBody>
        </p:sp>
      </p:grpSp>
      <p:grpSp>
        <p:nvGrpSpPr>
          <p:cNvPr id="67" name="Group 66"/>
          <p:cNvGrpSpPr/>
          <p:nvPr/>
        </p:nvGrpSpPr>
        <p:grpSpPr>
          <a:xfrm>
            <a:off x="3237309" y="2219434"/>
            <a:ext cx="415295" cy="443775"/>
            <a:chOff x="4524551" y="3756113"/>
            <a:chExt cx="819227" cy="875407"/>
          </a:xfrm>
        </p:grpSpPr>
        <p:grpSp>
          <p:nvGrpSpPr>
            <p:cNvPr id="68" name="Group 67"/>
            <p:cNvGrpSpPr/>
            <p:nvPr/>
          </p:nvGrpSpPr>
          <p:grpSpPr>
            <a:xfrm>
              <a:off x="4524551" y="3756113"/>
              <a:ext cx="754662" cy="875407"/>
              <a:chOff x="6708741" y="967041"/>
              <a:chExt cx="1144680" cy="1327828"/>
            </a:xfrm>
          </p:grpSpPr>
          <p:sp>
            <p:nvSpPr>
              <p:cNvPr id="70" name="Hexagon 69"/>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71" name="Hexagon 70"/>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69" name="TextBox 68"/>
            <p:cNvSpPr txBox="1"/>
            <p:nvPr/>
          </p:nvSpPr>
          <p:spPr>
            <a:xfrm>
              <a:off x="4784306" y="3981998"/>
              <a:ext cx="559472" cy="424993"/>
            </a:xfrm>
            <a:prstGeom prst="rect">
              <a:avLst/>
            </a:prstGeom>
            <a:noFill/>
          </p:spPr>
          <p:txBody>
            <a:bodyPr wrap="square" lIns="0" tIns="0" rIns="0" bIns="0" rtlCol="0">
              <a:spAutoFit/>
            </a:bodyPr>
            <a:lstStyle/>
            <a:p>
              <a:r>
                <a:rPr lang="es-ES" sz="1400" b="1" dirty="0"/>
                <a:t>3</a:t>
              </a:r>
              <a:endParaRPr lang="en-GB" sz="1400" b="1" dirty="0" err="1"/>
            </a:p>
          </p:txBody>
        </p:sp>
      </p:grpSp>
      <p:grpSp>
        <p:nvGrpSpPr>
          <p:cNvPr id="72" name="Group 71"/>
          <p:cNvGrpSpPr/>
          <p:nvPr/>
        </p:nvGrpSpPr>
        <p:grpSpPr>
          <a:xfrm>
            <a:off x="3626962" y="2219433"/>
            <a:ext cx="415295" cy="443775"/>
            <a:chOff x="4524551" y="3756113"/>
            <a:chExt cx="819227" cy="875407"/>
          </a:xfrm>
        </p:grpSpPr>
        <p:grpSp>
          <p:nvGrpSpPr>
            <p:cNvPr id="73" name="Group 72"/>
            <p:cNvGrpSpPr/>
            <p:nvPr/>
          </p:nvGrpSpPr>
          <p:grpSpPr>
            <a:xfrm>
              <a:off x="4524551" y="3756113"/>
              <a:ext cx="754662" cy="875407"/>
              <a:chOff x="6708741" y="967041"/>
              <a:chExt cx="1144680" cy="1327828"/>
            </a:xfrm>
          </p:grpSpPr>
          <p:sp>
            <p:nvSpPr>
              <p:cNvPr id="75" name="Hexagon 74"/>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76" name="Hexagon 75"/>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74" name="TextBox 73"/>
            <p:cNvSpPr txBox="1"/>
            <p:nvPr/>
          </p:nvSpPr>
          <p:spPr>
            <a:xfrm>
              <a:off x="4784306" y="3981998"/>
              <a:ext cx="559472" cy="424993"/>
            </a:xfrm>
            <a:prstGeom prst="rect">
              <a:avLst/>
            </a:prstGeom>
            <a:noFill/>
          </p:spPr>
          <p:txBody>
            <a:bodyPr wrap="square" lIns="0" tIns="0" rIns="0" bIns="0" rtlCol="0">
              <a:spAutoFit/>
            </a:bodyPr>
            <a:lstStyle/>
            <a:p>
              <a:r>
                <a:rPr lang="es-ES" sz="1400" b="1" dirty="0"/>
                <a:t>4</a:t>
              </a:r>
              <a:endParaRPr lang="en-GB" sz="1400" b="1" dirty="0" err="1"/>
            </a:p>
          </p:txBody>
        </p:sp>
      </p:grpSp>
      <p:grpSp>
        <p:nvGrpSpPr>
          <p:cNvPr id="77" name="Group 76"/>
          <p:cNvGrpSpPr/>
          <p:nvPr/>
        </p:nvGrpSpPr>
        <p:grpSpPr>
          <a:xfrm>
            <a:off x="4015219" y="2219433"/>
            <a:ext cx="415295" cy="443775"/>
            <a:chOff x="4524551" y="3756113"/>
            <a:chExt cx="819227" cy="875407"/>
          </a:xfrm>
        </p:grpSpPr>
        <p:grpSp>
          <p:nvGrpSpPr>
            <p:cNvPr id="78" name="Group 77"/>
            <p:cNvGrpSpPr/>
            <p:nvPr/>
          </p:nvGrpSpPr>
          <p:grpSpPr>
            <a:xfrm>
              <a:off x="4524551" y="3756113"/>
              <a:ext cx="754662" cy="875407"/>
              <a:chOff x="6708741" y="967041"/>
              <a:chExt cx="1144680" cy="1327828"/>
            </a:xfrm>
          </p:grpSpPr>
          <p:sp>
            <p:nvSpPr>
              <p:cNvPr id="80" name="Hexagon 79"/>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81" name="Hexagon 80"/>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79" name="TextBox 78"/>
            <p:cNvSpPr txBox="1"/>
            <p:nvPr/>
          </p:nvSpPr>
          <p:spPr>
            <a:xfrm>
              <a:off x="4784306" y="3981998"/>
              <a:ext cx="559472" cy="424993"/>
            </a:xfrm>
            <a:prstGeom prst="rect">
              <a:avLst/>
            </a:prstGeom>
            <a:noFill/>
          </p:spPr>
          <p:txBody>
            <a:bodyPr wrap="square" lIns="0" tIns="0" rIns="0" bIns="0" rtlCol="0">
              <a:spAutoFit/>
            </a:bodyPr>
            <a:lstStyle/>
            <a:p>
              <a:r>
                <a:rPr lang="es-ES" sz="1400" b="1" dirty="0"/>
                <a:t>5</a:t>
              </a:r>
              <a:endParaRPr lang="en-GB" sz="1400" b="1" dirty="0" err="1"/>
            </a:p>
          </p:txBody>
        </p:sp>
      </p:grpSp>
      <p:grpSp>
        <p:nvGrpSpPr>
          <p:cNvPr id="96" name="Group 95"/>
          <p:cNvGrpSpPr/>
          <p:nvPr/>
        </p:nvGrpSpPr>
        <p:grpSpPr>
          <a:xfrm>
            <a:off x="4404872" y="2219433"/>
            <a:ext cx="415295" cy="443775"/>
            <a:chOff x="4524551" y="3756113"/>
            <a:chExt cx="819227" cy="875407"/>
          </a:xfrm>
        </p:grpSpPr>
        <p:grpSp>
          <p:nvGrpSpPr>
            <p:cNvPr id="97" name="Group 96"/>
            <p:cNvGrpSpPr/>
            <p:nvPr/>
          </p:nvGrpSpPr>
          <p:grpSpPr>
            <a:xfrm>
              <a:off x="4524551" y="3756113"/>
              <a:ext cx="754662" cy="875407"/>
              <a:chOff x="6708741" y="967041"/>
              <a:chExt cx="1144680" cy="1327828"/>
            </a:xfrm>
          </p:grpSpPr>
          <p:sp>
            <p:nvSpPr>
              <p:cNvPr id="99" name="Hexagon 98"/>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0" name="Hexagon 99"/>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98" name="TextBox 97"/>
            <p:cNvSpPr txBox="1"/>
            <p:nvPr/>
          </p:nvSpPr>
          <p:spPr>
            <a:xfrm>
              <a:off x="4784306" y="3981998"/>
              <a:ext cx="559472" cy="424993"/>
            </a:xfrm>
            <a:prstGeom prst="rect">
              <a:avLst/>
            </a:prstGeom>
            <a:noFill/>
          </p:spPr>
          <p:txBody>
            <a:bodyPr wrap="square" lIns="0" tIns="0" rIns="0" bIns="0" rtlCol="0">
              <a:spAutoFit/>
            </a:bodyPr>
            <a:lstStyle/>
            <a:p>
              <a:r>
                <a:rPr lang="es-ES" sz="1400" b="1" dirty="0"/>
                <a:t>6</a:t>
              </a:r>
              <a:endParaRPr lang="en-GB" sz="1400" b="1" dirty="0" err="1"/>
            </a:p>
          </p:txBody>
        </p:sp>
      </p:grpSp>
      <p:grpSp>
        <p:nvGrpSpPr>
          <p:cNvPr id="101" name="Group 100"/>
          <p:cNvGrpSpPr/>
          <p:nvPr/>
        </p:nvGrpSpPr>
        <p:grpSpPr>
          <a:xfrm>
            <a:off x="4793129" y="2219433"/>
            <a:ext cx="415295" cy="443775"/>
            <a:chOff x="4524551" y="3756113"/>
            <a:chExt cx="819227" cy="875407"/>
          </a:xfrm>
        </p:grpSpPr>
        <p:grpSp>
          <p:nvGrpSpPr>
            <p:cNvPr id="102" name="Group 101"/>
            <p:cNvGrpSpPr/>
            <p:nvPr/>
          </p:nvGrpSpPr>
          <p:grpSpPr>
            <a:xfrm>
              <a:off x="4524551" y="3756113"/>
              <a:ext cx="754662" cy="875407"/>
              <a:chOff x="6708741" y="967041"/>
              <a:chExt cx="1144680" cy="1327828"/>
            </a:xfrm>
          </p:grpSpPr>
          <p:sp>
            <p:nvSpPr>
              <p:cNvPr id="104" name="Hexagon 103"/>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5" name="Hexagon 104"/>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03" name="TextBox 102"/>
            <p:cNvSpPr txBox="1"/>
            <p:nvPr/>
          </p:nvSpPr>
          <p:spPr>
            <a:xfrm>
              <a:off x="4784306" y="3981998"/>
              <a:ext cx="559472" cy="424993"/>
            </a:xfrm>
            <a:prstGeom prst="rect">
              <a:avLst/>
            </a:prstGeom>
            <a:noFill/>
          </p:spPr>
          <p:txBody>
            <a:bodyPr wrap="square" lIns="0" tIns="0" rIns="0" bIns="0" rtlCol="0">
              <a:spAutoFit/>
            </a:bodyPr>
            <a:lstStyle/>
            <a:p>
              <a:r>
                <a:rPr lang="es-ES" sz="1400" b="1" dirty="0"/>
                <a:t>7</a:t>
              </a:r>
              <a:endParaRPr lang="en-GB" sz="1400" b="1" dirty="0" err="1"/>
            </a:p>
          </p:txBody>
        </p:sp>
      </p:grpSp>
      <p:grpSp>
        <p:nvGrpSpPr>
          <p:cNvPr id="106" name="Group 105"/>
          <p:cNvGrpSpPr/>
          <p:nvPr/>
        </p:nvGrpSpPr>
        <p:grpSpPr>
          <a:xfrm>
            <a:off x="2083344" y="2882465"/>
            <a:ext cx="415295" cy="443775"/>
            <a:chOff x="4524551" y="3756113"/>
            <a:chExt cx="819227" cy="875407"/>
          </a:xfrm>
        </p:grpSpPr>
        <p:grpSp>
          <p:nvGrpSpPr>
            <p:cNvPr id="107" name="Group 106"/>
            <p:cNvGrpSpPr/>
            <p:nvPr/>
          </p:nvGrpSpPr>
          <p:grpSpPr>
            <a:xfrm>
              <a:off x="4524551" y="3756113"/>
              <a:ext cx="754662" cy="875407"/>
              <a:chOff x="6708741" y="967041"/>
              <a:chExt cx="1144680" cy="1327828"/>
            </a:xfrm>
          </p:grpSpPr>
          <p:sp>
            <p:nvSpPr>
              <p:cNvPr id="109" name="Hexagon 108"/>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0" name="Hexagon 109"/>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08" name="TextBox 107"/>
            <p:cNvSpPr txBox="1"/>
            <p:nvPr/>
          </p:nvSpPr>
          <p:spPr>
            <a:xfrm>
              <a:off x="4784306" y="3981998"/>
              <a:ext cx="559472" cy="149248"/>
            </a:xfrm>
            <a:prstGeom prst="rect">
              <a:avLst/>
            </a:prstGeom>
            <a:noFill/>
          </p:spPr>
          <p:txBody>
            <a:bodyPr wrap="square" lIns="0" tIns="0" rIns="0" bIns="0" rtlCol="0">
              <a:spAutoFit/>
            </a:bodyPr>
            <a:lstStyle/>
            <a:p>
              <a:r>
                <a:rPr lang="es-ES" sz="1400" b="1" dirty="0"/>
                <a:t>0</a:t>
              </a:r>
              <a:endParaRPr lang="en-GB" sz="1400" b="1" dirty="0" err="1"/>
            </a:p>
          </p:txBody>
        </p:sp>
      </p:grpSp>
      <p:grpSp>
        <p:nvGrpSpPr>
          <p:cNvPr id="111" name="Group 110"/>
          <p:cNvGrpSpPr/>
          <p:nvPr/>
        </p:nvGrpSpPr>
        <p:grpSpPr>
          <a:xfrm>
            <a:off x="2471601" y="2882465"/>
            <a:ext cx="415295" cy="443775"/>
            <a:chOff x="4524551" y="3756113"/>
            <a:chExt cx="819227" cy="875407"/>
          </a:xfrm>
        </p:grpSpPr>
        <p:grpSp>
          <p:nvGrpSpPr>
            <p:cNvPr id="112" name="Group 111"/>
            <p:cNvGrpSpPr/>
            <p:nvPr/>
          </p:nvGrpSpPr>
          <p:grpSpPr>
            <a:xfrm>
              <a:off x="4524551" y="3756113"/>
              <a:ext cx="754662" cy="875407"/>
              <a:chOff x="6708741" y="967041"/>
              <a:chExt cx="1144680" cy="1327828"/>
            </a:xfrm>
          </p:grpSpPr>
          <p:sp>
            <p:nvSpPr>
              <p:cNvPr id="114" name="Hexagon 113"/>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5" name="Hexagon 114"/>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13" name="TextBox 112"/>
            <p:cNvSpPr txBox="1"/>
            <p:nvPr/>
          </p:nvSpPr>
          <p:spPr>
            <a:xfrm>
              <a:off x="4784306" y="3981998"/>
              <a:ext cx="559472" cy="424993"/>
            </a:xfrm>
            <a:prstGeom prst="rect">
              <a:avLst/>
            </a:prstGeom>
            <a:noFill/>
          </p:spPr>
          <p:txBody>
            <a:bodyPr wrap="square" lIns="0" tIns="0" rIns="0" bIns="0" rtlCol="0">
              <a:spAutoFit/>
            </a:bodyPr>
            <a:lstStyle/>
            <a:p>
              <a:r>
                <a:rPr lang="es-ES" sz="1400" b="1" dirty="0"/>
                <a:t>1</a:t>
              </a:r>
              <a:endParaRPr lang="en-GB" sz="1400" b="1" dirty="0" err="1"/>
            </a:p>
          </p:txBody>
        </p:sp>
      </p:grpSp>
      <p:grpSp>
        <p:nvGrpSpPr>
          <p:cNvPr id="116" name="Group 115"/>
          <p:cNvGrpSpPr/>
          <p:nvPr/>
        </p:nvGrpSpPr>
        <p:grpSpPr>
          <a:xfrm>
            <a:off x="2861254" y="2882465"/>
            <a:ext cx="415295" cy="443775"/>
            <a:chOff x="4524551" y="3756113"/>
            <a:chExt cx="819227" cy="875407"/>
          </a:xfrm>
        </p:grpSpPr>
        <p:grpSp>
          <p:nvGrpSpPr>
            <p:cNvPr id="117" name="Group 116"/>
            <p:cNvGrpSpPr/>
            <p:nvPr/>
          </p:nvGrpSpPr>
          <p:grpSpPr>
            <a:xfrm>
              <a:off x="4524551" y="3756113"/>
              <a:ext cx="754662" cy="875407"/>
              <a:chOff x="6708741" y="967041"/>
              <a:chExt cx="1144680" cy="1327828"/>
            </a:xfrm>
          </p:grpSpPr>
          <p:sp>
            <p:nvSpPr>
              <p:cNvPr id="119" name="Hexagon 118"/>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0" name="Hexagon 119"/>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18" name="TextBox 117"/>
            <p:cNvSpPr txBox="1"/>
            <p:nvPr/>
          </p:nvSpPr>
          <p:spPr>
            <a:xfrm>
              <a:off x="4784306" y="3981998"/>
              <a:ext cx="559472" cy="424993"/>
            </a:xfrm>
            <a:prstGeom prst="rect">
              <a:avLst/>
            </a:prstGeom>
            <a:noFill/>
          </p:spPr>
          <p:txBody>
            <a:bodyPr wrap="square" lIns="0" tIns="0" rIns="0" bIns="0" rtlCol="0">
              <a:spAutoFit/>
            </a:bodyPr>
            <a:lstStyle/>
            <a:p>
              <a:r>
                <a:rPr lang="es-ES" sz="1400" b="1" dirty="0"/>
                <a:t>2</a:t>
              </a:r>
              <a:endParaRPr lang="en-GB" sz="1400" b="1" dirty="0" err="1"/>
            </a:p>
          </p:txBody>
        </p:sp>
      </p:grpSp>
      <p:grpSp>
        <p:nvGrpSpPr>
          <p:cNvPr id="121" name="Group 120"/>
          <p:cNvGrpSpPr/>
          <p:nvPr/>
        </p:nvGrpSpPr>
        <p:grpSpPr>
          <a:xfrm>
            <a:off x="3249511" y="2882465"/>
            <a:ext cx="415295" cy="443775"/>
            <a:chOff x="4524551" y="3756113"/>
            <a:chExt cx="819227" cy="875407"/>
          </a:xfrm>
        </p:grpSpPr>
        <p:grpSp>
          <p:nvGrpSpPr>
            <p:cNvPr id="122" name="Group 121"/>
            <p:cNvGrpSpPr/>
            <p:nvPr/>
          </p:nvGrpSpPr>
          <p:grpSpPr>
            <a:xfrm>
              <a:off x="4524551" y="3756113"/>
              <a:ext cx="754662" cy="875407"/>
              <a:chOff x="6708741" y="967041"/>
              <a:chExt cx="1144680" cy="1327828"/>
            </a:xfrm>
          </p:grpSpPr>
          <p:sp>
            <p:nvSpPr>
              <p:cNvPr id="124" name="Hexagon 123"/>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5" name="Hexagon 124"/>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23" name="TextBox 122"/>
            <p:cNvSpPr txBox="1"/>
            <p:nvPr/>
          </p:nvSpPr>
          <p:spPr>
            <a:xfrm>
              <a:off x="4784306" y="3981998"/>
              <a:ext cx="559472" cy="424993"/>
            </a:xfrm>
            <a:prstGeom prst="rect">
              <a:avLst/>
            </a:prstGeom>
            <a:noFill/>
          </p:spPr>
          <p:txBody>
            <a:bodyPr wrap="square" lIns="0" tIns="0" rIns="0" bIns="0" rtlCol="0">
              <a:spAutoFit/>
            </a:bodyPr>
            <a:lstStyle/>
            <a:p>
              <a:r>
                <a:rPr lang="es-ES" sz="1400" b="1" dirty="0"/>
                <a:t>3</a:t>
              </a:r>
              <a:endParaRPr lang="en-GB" sz="1400" b="1" dirty="0" err="1"/>
            </a:p>
          </p:txBody>
        </p:sp>
      </p:grpSp>
      <p:grpSp>
        <p:nvGrpSpPr>
          <p:cNvPr id="126" name="Group 125"/>
          <p:cNvGrpSpPr/>
          <p:nvPr/>
        </p:nvGrpSpPr>
        <p:grpSpPr>
          <a:xfrm>
            <a:off x="3639164" y="2882464"/>
            <a:ext cx="415295" cy="443775"/>
            <a:chOff x="4524551" y="3756113"/>
            <a:chExt cx="819227" cy="875407"/>
          </a:xfrm>
        </p:grpSpPr>
        <p:grpSp>
          <p:nvGrpSpPr>
            <p:cNvPr id="127" name="Group 126"/>
            <p:cNvGrpSpPr/>
            <p:nvPr/>
          </p:nvGrpSpPr>
          <p:grpSpPr>
            <a:xfrm>
              <a:off x="4524551" y="3756113"/>
              <a:ext cx="754662" cy="875407"/>
              <a:chOff x="6708741" y="967041"/>
              <a:chExt cx="1144680" cy="1327828"/>
            </a:xfrm>
          </p:grpSpPr>
          <p:sp>
            <p:nvSpPr>
              <p:cNvPr id="129" name="Hexagon 128"/>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0" name="Hexagon 129"/>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28" name="TextBox 127"/>
            <p:cNvSpPr txBox="1"/>
            <p:nvPr/>
          </p:nvSpPr>
          <p:spPr>
            <a:xfrm>
              <a:off x="4784306" y="3981998"/>
              <a:ext cx="559472" cy="424993"/>
            </a:xfrm>
            <a:prstGeom prst="rect">
              <a:avLst/>
            </a:prstGeom>
            <a:noFill/>
          </p:spPr>
          <p:txBody>
            <a:bodyPr wrap="square" lIns="0" tIns="0" rIns="0" bIns="0" rtlCol="0">
              <a:spAutoFit/>
            </a:bodyPr>
            <a:lstStyle/>
            <a:p>
              <a:r>
                <a:rPr lang="es-ES" sz="1400" b="1" dirty="0"/>
                <a:t>4</a:t>
              </a:r>
              <a:endParaRPr lang="en-GB" sz="1400" b="1" dirty="0" err="1"/>
            </a:p>
          </p:txBody>
        </p:sp>
      </p:grpSp>
      <p:grpSp>
        <p:nvGrpSpPr>
          <p:cNvPr id="131" name="Group 130"/>
          <p:cNvGrpSpPr/>
          <p:nvPr/>
        </p:nvGrpSpPr>
        <p:grpSpPr>
          <a:xfrm>
            <a:off x="4027421" y="2882464"/>
            <a:ext cx="415295" cy="443775"/>
            <a:chOff x="4524551" y="3756113"/>
            <a:chExt cx="819227" cy="875407"/>
          </a:xfrm>
        </p:grpSpPr>
        <p:grpSp>
          <p:nvGrpSpPr>
            <p:cNvPr id="132" name="Group 131"/>
            <p:cNvGrpSpPr/>
            <p:nvPr/>
          </p:nvGrpSpPr>
          <p:grpSpPr>
            <a:xfrm>
              <a:off x="4524551" y="3756113"/>
              <a:ext cx="754662" cy="875407"/>
              <a:chOff x="6708741" y="967041"/>
              <a:chExt cx="1144680" cy="1327828"/>
            </a:xfrm>
          </p:grpSpPr>
          <p:sp>
            <p:nvSpPr>
              <p:cNvPr id="134" name="Hexagon 133"/>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5" name="Hexagon 134"/>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33" name="TextBox 132"/>
            <p:cNvSpPr txBox="1"/>
            <p:nvPr/>
          </p:nvSpPr>
          <p:spPr>
            <a:xfrm>
              <a:off x="4784306" y="3981998"/>
              <a:ext cx="559472" cy="424993"/>
            </a:xfrm>
            <a:prstGeom prst="rect">
              <a:avLst/>
            </a:prstGeom>
            <a:noFill/>
          </p:spPr>
          <p:txBody>
            <a:bodyPr wrap="square" lIns="0" tIns="0" rIns="0" bIns="0" rtlCol="0">
              <a:spAutoFit/>
            </a:bodyPr>
            <a:lstStyle/>
            <a:p>
              <a:r>
                <a:rPr lang="es-ES" sz="1400" b="1" dirty="0"/>
                <a:t>5</a:t>
              </a:r>
              <a:endParaRPr lang="en-GB" sz="1400" b="1" dirty="0" err="1"/>
            </a:p>
          </p:txBody>
        </p:sp>
      </p:grpSp>
      <p:grpSp>
        <p:nvGrpSpPr>
          <p:cNvPr id="136" name="Group 135"/>
          <p:cNvGrpSpPr/>
          <p:nvPr/>
        </p:nvGrpSpPr>
        <p:grpSpPr>
          <a:xfrm>
            <a:off x="4417074" y="2882464"/>
            <a:ext cx="415295" cy="443775"/>
            <a:chOff x="4524551" y="3756113"/>
            <a:chExt cx="819227" cy="875407"/>
          </a:xfrm>
        </p:grpSpPr>
        <p:grpSp>
          <p:nvGrpSpPr>
            <p:cNvPr id="137" name="Group 136"/>
            <p:cNvGrpSpPr/>
            <p:nvPr/>
          </p:nvGrpSpPr>
          <p:grpSpPr>
            <a:xfrm>
              <a:off x="4524551" y="3756113"/>
              <a:ext cx="754662" cy="875407"/>
              <a:chOff x="6708741" y="967041"/>
              <a:chExt cx="1144680" cy="1327828"/>
            </a:xfrm>
          </p:grpSpPr>
          <p:sp>
            <p:nvSpPr>
              <p:cNvPr id="139" name="Hexagon 138"/>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40" name="Hexagon 139"/>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38" name="TextBox 137"/>
            <p:cNvSpPr txBox="1"/>
            <p:nvPr/>
          </p:nvSpPr>
          <p:spPr>
            <a:xfrm>
              <a:off x="4784306" y="3981998"/>
              <a:ext cx="559472" cy="424993"/>
            </a:xfrm>
            <a:prstGeom prst="rect">
              <a:avLst/>
            </a:prstGeom>
            <a:noFill/>
          </p:spPr>
          <p:txBody>
            <a:bodyPr wrap="square" lIns="0" tIns="0" rIns="0" bIns="0" rtlCol="0">
              <a:spAutoFit/>
            </a:bodyPr>
            <a:lstStyle/>
            <a:p>
              <a:r>
                <a:rPr lang="es-ES" sz="1400" b="1" dirty="0"/>
                <a:t>6</a:t>
              </a:r>
              <a:endParaRPr lang="en-GB" sz="1400" b="1" dirty="0" err="1"/>
            </a:p>
          </p:txBody>
        </p:sp>
      </p:grpSp>
      <p:grpSp>
        <p:nvGrpSpPr>
          <p:cNvPr id="141" name="Group 140"/>
          <p:cNvGrpSpPr/>
          <p:nvPr/>
        </p:nvGrpSpPr>
        <p:grpSpPr>
          <a:xfrm>
            <a:off x="4805331" y="2882464"/>
            <a:ext cx="415295" cy="443775"/>
            <a:chOff x="4524551" y="3756113"/>
            <a:chExt cx="819227" cy="875407"/>
          </a:xfrm>
        </p:grpSpPr>
        <p:grpSp>
          <p:nvGrpSpPr>
            <p:cNvPr id="142" name="Group 141"/>
            <p:cNvGrpSpPr/>
            <p:nvPr/>
          </p:nvGrpSpPr>
          <p:grpSpPr>
            <a:xfrm>
              <a:off x="4524551" y="3756113"/>
              <a:ext cx="754662" cy="875407"/>
              <a:chOff x="6708741" y="967041"/>
              <a:chExt cx="1144680" cy="1327828"/>
            </a:xfrm>
          </p:grpSpPr>
          <p:sp>
            <p:nvSpPr>
              <p:cNvPr id="144" name="Hexagon 143"/>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45" name="Hexagon 144"/>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43" name="TextBox 142"/>
            <p:cNvSpPr txBox="1"/>
            <p:nvPr/>
          </p:nvSpPr>
          <p:spPr>
            <a:xfrm>
              <a:off x="4784306" y="3981998"/>
              <a:ext cx="559472" cy="424993"/>
            </a:xfrm>
            <a:prstGeom prst="rect">
              <a:avLst/>
            </a:prstGeom>
            <a:noFill/>
          </p:spPr>
          <p:txBody>
            <a:bodyPr wrap="square" lIns="0" tIns="0" rIns="0" bIns="0" rtlCol="0">
              <a:spAutoFit/>
            </a:bodyPr>
            <a:lstStyle/>
            <a:p>
              <a:r>
                <a:rPr lang="es-ES" sz="1400" b="1" dirty="0"/>
                <a:t>7</a:t>
              </a:r>
              <a:endParaRPr lang="en-GB" sz="1400" b="1" dirty="0" err="1"/>
            </a:p>
          </p:txBody>
        </p:sp>
      </p:grpSp>
      <p:grpSp>
        <p:nvGrpSpPr>
          <p:cNvPr id="146" name="Group 145"/>
          <p:cNvGrpSpPr/>
          <p:nvPr/>
        </p:nvGrpSpPr>
        <p:grpSpPr>
          <a:xfrm>
            <a:off x="2089036" y="3535430"/>
            <a:ext cx="415295" cy="443775"/>
            <a:chOff x="4524551" y="3756113"/>
            <a:chExt cx="819227" cy="875407"/>
          </a:xfrm>
        </p:grpSpPr>
        <p:grpSp>
          <p:nvGrpSpPr>
            <p:cNvPr id="147" name="Group 146"/>
            <p:cNvGrpSpPr/>
            <p:nvPr/>
          </p:nvGrpSpPr>
          <p:grpSpPr>
            <a:xfrm>
              <a:off x="4524551" y="3756113"/>
              <a:ext cx="754662" cy="875407"/>
              <a:chOff x="6708741" y="967041"/>
              <a:chExt cx="1144680" cy="1327828"/>
            </a:xfrm>
          </p:grpSpPr>
          <p:sp>
            <p:nvSpPr>
              <p:cNvPr id="149" name="Hexagon 148"/>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50" name="Hexagon 149"/>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48" name="TextBox 147"/>
            <p:cNvSpPr txBox="1"/>
            <p:nvPr/>
          </p:nvSpPr>
          <p:spPr>
            <a:xfrm>
              <a:off x="4784306" y="3981998"/>
              <a:ext cx="559472" cy="149248"/>
            </a:xfrm>
            <a:prstGeom prst="rect">
              <a:avLst/>
            </a:prstGeom>
            <a:noFill/>
          </p:spPr>
          <p:txBody>
            <a:bodyPr wrap="square" lIns="0" tIns="0" rIns="0" bIns="0" rtlCol="0">
              <a:spAutoFit/>
            </a:bodyPr>
            <a:lstStyle/>
            <a:p>
              <a:r>
                <a:rPr lang="es-ES" sz="1400" b="1" dirty="0"/>
                <a:t>0</a:t>
              </a:r>
              <a:endParaRPr lang="en-GB" sz="1400" b="1" dirty="0" err="1"/>
            </a:p>
          </p:txBody>
        </p:sp>
      </p:grpSp>
      <p:grpSp>
        <p:nvGrpSpPr>
          <p:cNvPr id="151" name="Group 150"/>
          <p:cNvGrpSpPr/>
          <p:nvPr/>
        </p:nvGrpSpPr>
        <p:grpSpPr>
          <a:xfrm>
            <a:off x="2477293" y="3535430"/>
            <a:ext cx="415295" cy="443775"/>
            <a:chOff x="4524551" y="3756113"/>
            <a:chExt cx="819227" cy="875407"/>
          </a:xfrm>
        </p:grpSpPr>
        <p:grpSp>
          <p:nvGrpSpPr>
            <p:cNvPr id="152" name="Group 151"/>
            <p:cNvGrpSpPr/>
            <p:nvPr/>
          </p:nvGrpSpPr>
          <p:grpSpPr>
            <a:xfrm>
              <a:off x="4524551" y="3756113"/>
              <a:ext cx="754662" cy="875407"/>
              <a:chOff x="6708741" y="967041"/>
              <a:chExt cx="1144680" cy="1327828"/>
            </a:xfrm>
          </p:grpSpPr>
          <p:sp>
            <p:nvSpPr>
              <p:cNvPr id="154" name="Hexagon 153"/>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55" name="Hexagon 154"/>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53" name="TextBox 152"/>
            <p:cNvSpPr txBox="1"/>
            <p:nvPr/>
          </p:nvSpPr>
          <p:spPr>
            <a:xfrm>
              <a:off x="4784306" y="3981998"/>
              <a:ext cx="559472" cy="424993"/>
            </a:xfrm>
            <a:prstGeom prst="rect">
              <a:avLst/>
            </a:prstGeom>
            <a:noFill/>
          </p:spPr>
          <p:txBody>
            <a:bodyPr wrap="square" lIns="0" tIns="0" rIns="0" bIns="0" rtlCol="0">
              <a:spAutoFit/>
            </a:bodyPr>
            <a:lstStyle/>
            <a:p>
              <a:r>
                <a:rPr lang="es-ES" sz="1400" b="1" dirty="0"/>
                <a:t>1</a:t>
              </a:r>
              <a:endParaRPr lang="en-GB" sz="1400" b="1" dirty="0" err="1"/>
            </a:p>
          </p:txBody>
        </p:sp>
      </p:grpSp>
      <p:grpSp>
        <p:nvGrpSpPr>
          <p:cNvPr id="156" name="Group 155"/>
          <p:cNvGrpSpPr/>
          <p:nvPr/>
        </p:nvGrpSpPr>
        <p:grpSpPr>
          <a:xfrm>
            <a:off x="2866946" y="3535430"/>
            <a:ext cx="415295" cy="443775"/>
            <a:chOff x="4524551" y="3756113"/>
            <a:chExt cx="819227" cy="875407"/>
          </a:xfrm>
        </p:grpSpPr>
        <p:grpSp>
          <p:nvGrpSpPr>
            <p:cNvPr id="157" name="Group 156"/>
            <p:cNvGrpSpPr/>
            <p:nvPr/>
          </p:nvGrpSpPr>
          <p:grpSpPr>
            <a:xfrm>
              <a:off x="4524551" y="3756113"/>
              <a:ext cx="754662" cy="875407"/>
              <a:chOff x="6708741" y="967041"/>
              <a:chExt cx="1144680" cy="1327828"/>
            </a:xfrm>
          </p:grpSpPr>
          <p:sp>
            <p:nvSpPr>
              <p:cNvPr id="159" name="Hexagon 158"/>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60" name="Hexagon 159"/>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58" name="TextBox 157"/>
            <p:cNvSpPr txBox="1"/>
            <p:nvPr/>
          </p:nvSpPr>
          <p:spPr>
            <a:xfrm>
              <a:off x="4784306" y="3981998"/>
              <a:ext cx="559472" cy="424993"/>
            </a:xfrm>
            <a:prstGeom prst="rect">
              <a:avLst/>
            </a:prstGeom>
            <a:noFill/>
          </p:spPr>
          <p:txBody>
            <a:bodyPr wrap="square" lIns="0" tIns="0" rIns="0" bIns="0" rtlCol="0">
              <a:spAutoFit/>
            </a:bodyPr>
            <a:lstStyle/>
            <a:p>
              <a:r>
                <a:rPr lang="es-ES" sz="1400" b="1" dirty="0"/>
                <a:t>2</a:t>
              </a:r>
              <a:endParaRPr lang="en-GB" sz="1400" b="1" dirty="0" err="1"/>
            </a:p>
          </p:txBody>
        </p:sp>
      </p:grpSp>
      <p:grpSp>
        <p:nvGrpSpPr>
          <p:cNvPr id="161" name="Group 160"/>
          <p:cNvGrpSpPr/>
          <p:nvPr/>
        </p:nvGrpSpPr>
        <p:grpSpPr>
          <a:xfrm>
            <a:off x="3255203" y="3535430"/>
            <a:ext cx="415295" cy="443775"/>
            <a:chOff x="4524551" y="3756113"/>
            <a:chExt cx="819227" cy="875407"/>
          </a:xfrm>
        </p:grpSpPr>
        <p:grpSp>
          <p:nvGrpSpPr>
            <p:cNvPr id="162" name="Group 161"/>
            <p:cNvGrpSpPr/>
            <p:nvPr/>
          </p:nvGrpSpPr>
          <p:grpSpPr>
            <a:xfrm>
              <a:off x="4524551" y="3756113"/>
              <a:ext cx="754662" cy="875407"/>
              <a:chOff x="6708741" y="967041"/>
              <a:chExt cx="1144680" cy="1327828"/>
            </a:xfrm>
          </p:grpSpPr>
          <p:sp>
            <p:nvSpPr>
              <p:cNvPr id="164" name="Hexagon 163"/>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65" name="Hexagon 164"/>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63" name="TextBox 162"/>
            <p:cNvSpPr txBox="1"/>
            <p:nvPr/>
          </p:nvSpPr>
          <p:spPr>
            <a:xfrm>
              <a:off x="4784306" y="3981998"/>
              <a:ext cx="559472" cy="424993"/>
            </a:xfrm>
            <a:prstGeom prst="rect">
              <a:avLst/>
            </a:prstGeom>
            <a:noFill/>
          </p:spPr>
          <p:txBody>
            <a:bodyPr wrap="square" lIns="0" tIns="0" rIns="0" bIns="0" rtlCol="0">
              <a:spAutoFit/>
            </a:bodyPr>
            <a:lstStyle/>
            <a:p>
              <a:r>
                <a:rPr lang="es-ES" sz="1400" b="1" dirty="0"/>
                <a:t>3</a:t>
              </a:r>
              <a:endParaRPr lang="en-GB" sz="1400" b="1" dirty="0" err="1"/>
            </a:p>
          </p:txBody>
        </p:sp>
      </p:grpSp>
      <p:grpSp>
        <p:nvGrpSpPr>
          <p:cNvPr id="166" name="Group 165"/>
          <p:cNvGrpSpPr/>
          <p:nvPr/>
        </p:nvGrpSpPr>
        <p:grpSpPr>
          <a:xfrm>
            <a:off x="3644856" y="3535429"/>
            <a:ext cx="415295" cy="443775"/>
            <a:chOff x="4524551" y="3756113"/>
            <a:chExt cx="819227" cy="875407"/>
          </a:xfrm>
        </p:grpSpPr>
        <p:grpSp>
          <p:nvGrpSpPr>
            <p:cNvPr id="167" name="Group 166"/>
            <p:cNvGrpSpPr/>
            <p:nvPr/>
          </p:nvGrpSpPr>
          <p:grpSpPr>
            <a:xfrm>
              <a:off x="4524551" y="3756113"/>
              <a:ext cx="754662" cy="875407"/>
              <a:chOff x="6708741" y="967041"/>
              <a:chExt cx="1144680" cy="1327828"/>
            </a:xfrm>
          </p:grpSpPr>
          <p:sp>
            <p:nvSpPr>
              <p:cNvPr id="169" name="Hexagon 168"/>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70" name="Hexagon 169"/>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68" name="TextBox 167"/>
            <p:cNvSpPr txBox="1"/>
            <p:nvPr/>
          </p:nvSpPr>
          <p:spPr>
            <a:xfrm>
              <a:off x="4784306" y="3981998"/>
              <a:ext cx="559472" cy="424993"/>
            </a:xfrm>
            <a:prstGeom prst="rect">
              <a:avLst/>
            </a:prstGeom>
            <a:noFill/>
          </p:spPr>
          <p:txBody>
            <a:bodyPr wrap="square" lIns="0" tIns="0" rIns="0" bIns="0" rtlCol="0">
              <a:spAutoFit/>
            </a:bodyPr>
            <a:lstStyle/>
            <a:p>
              <a:r>
                <a:rPr lang="es-ES" sz="1400" b="1" dirty="0"/>
                <a:t>4</a:t>
              </a:r>
              <a:endParaRPr lang="en-GB" sz="1400" b="1" dirty="0" err="1"/>
            </a:p>
          </p:txBody>
        </p:sp>
      </p:grpSp>
      <p:grpSp>
        <p:nvGrpSpPr>
          <p:cNvPr id="171" name="Group 170"/>
          <p:cNvGrpSpPr/>
          <p:nvPr/>
        </p:nvGrpSpPr>
        <p:grpSpPr>
          <a:xfrm>
            <a:off x="4033113" y="3535429"/>
            <a:ext cx="415295" cy="443775"/>
            <a:chOff x="4524551" y="3756113"/>
            <a:chExt cx="819227" cy="875407"/>
          </a:xfrm>
        </p:grpSpPr>
        <p:grpSp>
          <p:nvGrpSpPr>
            <p:cNvPr id="172" name="Group 171"/>
            <p:cNvGrpSpPr/>
            <p:nvPr/>
          </p:nvGrpSpPr>
          <p:grpSpPr>
            <a:xfrm>
              <a:off x="4524551" y="3756113"/>
              <a:ext cx="754662" cy="875407"/>
              <a:chOff x="6708741" y="967041"/>
              <a:chExt cx="1144680" cy="1327828"/>
            </a:xfrm>
          </p:grpSpPr>
          <p:sp>
            <p:nvSpPr>
              <p:cNvPr id="174" name="Hexagon 173"/>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75" name="Hexagon 174"/>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73" name="TextBox 172"/>
            <p:cNvSpPr txBox="1"/>
            <p:nvPr/>
          </p:nvSpPr>
          <p:spPr>
            <a:xfrm>
              <a:off x="4784306" y="3981998"/>
              <a:ext cx="559472" cy="424993"/>
            </a:xfrm>
            <a:prstGeom prst="rect">
              <a:avLst/>
            </a:prstGeom>
            <a:noFill/>
          </p:spPr>
          <p:txBody>
            <a:bodyPr wrap="square" lIns="0" tIns="0" rIns="0" bIns="0" rtlCol="0">
              <a:spAutoFit/>
            </a:bodyPr>
            <a:lstStyle/>
            <a:p>
              <a:r>
                <a:rPr lang="es-ES" sz="1400" b="1" dirty="0"/>
                <a:t>5</a:t>
              </a:r>
              <a:endParaRPr lang="en-GB" sz="1400" b="1" dirty="0" err="1"/>
            </a:p>
          </p:txBody>
        </p:sp>
      </p:grpSp>
      <p:grpSp>
        <p:nvGrpSpPr>
          <p:cNvPr id="176" name="Group 175"/>
          <p:cNvGrpSpPr/>
          <p:nvPr/>
        </p:nvGrpSpPr>
        <p:grpSpPr>
          <a:xfrm>
            <a:off x="4422766" y="3535429"/>
            <a:ext cx="415295" cy="443775"/>
            <a:chOff x="4524551" y="3756113"/>
            <a:chExt cx="819227" cy="875407"/>
          </a:xfrm>
        </p:grpSpPr>
        <p:grpSp>
          <p:nvGrpSpPr>
            <p:cNvPr id="177" name="Group 176"/>
            <p:cNvGrpSpPr/>
            <p:nvPr/>
          </p:nvGrpSpPr>
          <p:grpSpPr>
            <a:xfrm>
              <a:off x="4524551" y="3756113"/>
              <a:ext cx="754662" cy="875407"/>
              <a:chOff x="6708741" y="967041"/>
              <a:chExt cx="1144680" cy="1327828"/>
            </a:xfrm>
          </p:grpSpPr>
          <p:sp>
            <p:nvSpPr>
              <p:cNvPr id="179" name="Hexagon 178"/>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80" name="Hexagon 179"/>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78" name="TextBox 177"/>
            <p:cNvSpPr txBox="1"/>
            <p:nvPr/>
          </p:nvSpPr>
          <p:spPr>
            <a:xfrm>
              <a:off x="4784306" y="3981998"/>
              <a:ext cx="559472" cy="424993"/>
            </a:xfrm>
            <a:prstGeom prst="rect">
              <a:avLst/>
            </a:prstGeom>
            <a:noFill/>
          </p:spPr>
          <p:txBody>
            <a:bodyPr wrap="square" lIns="0" tIns="0" rIns="0" bIns="0" rtlCol="0">
              <a:spAutoFit/>
            </a:bodyPr>
            <a:lstStyle/>
            <a:p>
              <a:r>
                <a:rPr lang="es-ES" sz="1400" b="1" dirty="0"/>
                <a:t>6</a:t>
              </a:r>
              <a:endParaRPr lang="en-GB" sz="1400" b="1" dirty="0" err="1"/>
            </a:p>
          </p:txBody>
        </p:sp>
      </p:grpSp>
      <p:grpSp>
        <p:nvGrpSpPr>
          <p:cNvPr id="181" name="Group 180"/>
          <p:cNvGrpSpPr/>
          <p:nvPr/>
        </p:nvGrpSpPr>
        <p:grpSpPr>
          <a:xfrm>
            <a:off x="4811023" y="3535429"/>
            <a:ext cx="415295" cy="443775"/>
            <a:chOff x="4524551" y="3756113"/>
            <a:chExt cx="819227" cy="875407"/>
          </a:xfrm>
        </p:grpSpPr>
        <p:grpSp>
          <p:nvGrpSpPr>
            <p:cNvPr id="182" name="Group 181"/>
            <p:cNvGrpSpPr/>
            <p:nvPr/>
          </p:nvGrpSpPr>
          <p:grpSpPr>
            <a:xfrm>
              <a:off x="4524551" y="3756113"/>
              <a:ext cx="754662" cy="875407"/>
              <a:chOff x="6708741" y="967041"/>
              <a:chExt cx="1144680" cy="1327828"/>
            </a:xfrm>
          </p:grpSpPr>
          <p:sp>
            <p:nvSpPr>
              <p:cNvPr id="184" name="Hexagon 183"/>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85" name="Hexagon 184"/>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83" name="TextBox 182"/>
            <p:cNvSpPr txBox="1"/>
            <p:nvPr/>
          </p:nvSpPr>
          <p:spPr>
            <a:xfrm>
              <a:off x="4784306" y="3981998"/>
              <a:ext cx="559472" cy="424993"/>
            </a:xfrm>
            <a:prstGeom prst="rect">
              <a:avLst/>
            </a:prstGeom>
            <a:noFill/>
          </p:spPr>
          <p:txBody>
            <a:bodyPr wrap="square" lIns="0" tIns="0" rIns="0" bIns="0" rtlCol="0">
              <a:spAutoFit/>
            </a:bodyPr>
            <a:lstStyle/>
            <a:p>
              <a:r>
                <a:rPr lang="es-ES" sz="1400" b="1" dirty="0"/>
                <a:t>7</a:t>
              </a:r>
              <a:endParaRPr lang="en-GB" sz="1400" b="1" dirty="0" err="1"/>
            </a:p>
          </p:txBody>
        </p:sp>
      </p:grpSp>
      <p:grpSp>
        <p:nvGrpSpPr>
          <p:cNvPr id="186" name="Group 185"/>
          <p:cNvGrpSpPr/>
          <p:nvPr/>
        </p:nvGrpSpPr>
        <p:grpSpPr>
          <a:xfrm>
            <a:off x="5188046" y="2226310"/>
            <a:ext cx="415295" cy="443775"/>
            <a:chOff x="4524551" y="3756113"/>
            <a:chExt cx="819227" cy="875407"/>
          </a:xfrm>
        </p:grpSpPr>
        <p:grpSp>
          <p:nvGrpSpPr>
            <p:cNvPr id="187" name="Group 186"/>
            <p:cNvGrpSpPr/>
            <p:nvPr/>
          </p:nvGrpSpPr>
          <p:grpSpPr>
            <a:xfrm>
              <a:off x="4524551" y="3756113"/>
              <a:ext cx="754662" cy="875407"/>
              <a:chOff x="6708741" y="967041"/>
              <a:chExt cx="1144680" cy="1327828"/>
            </a:xfrm>
          </p:grpSpPr>
          <p:sp>
            <p:nvSpPr>
              <p:cNvPr id="189" name="Hexagon 188"/>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90" name="Hexagon 189"/>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88" name="TextBox 187"/>
            <p:cNvSpPr txBox="1"/>
            <p:nvPr/>
          </p:nvSpPr>
          <p:spPr>
            <a:xfrm>
              <a:off x="4784306" y="3981998"/>
              <a:ext cx="559472" cy="424993"/>
            </a:xfrm>
            <a:prstGeom prst="rect">
              <a:avLst/>
            </a:prstGeom>
            <a:noFill/>
          </p:spPr>
          <p:txBody>
            <a:bodyPr wrap="square" lIns="0" tIns="0" rIns="0" bIns="0" rtlCol="0">
              <a:spAutoFit/>
            </a:bodyPr>
            <a:lstStyle/>
            <a:p>
              <a:r>
                <a:rPr lang="es-ES" sz="1400" b="1" dirty="0"/>
                <a:t>8</a:t>
              </a:r>
              <a:endParaRPr lang="en-GB" sz="1400" b="1" dirty="0" err="1"/>
            </a:p>
          </p:txBody>
        </p:sp>
      </p:grpSp>
      <p:grpSp>
        <p:nvGrpSpPr>
          <p:cNvPr id="191" name="Group 190"/>
          <p:cNvGrpSpPr/>
          <p:nvPr/>
        </p:nvGrpSpPr>
        <p:grpSpPr>
          <a:xfrm>
            <a:off x="5599276" y="3540281"/>
            <a:ext cx="418398" cy="443775"/>
            <a:chOff x="4518430" y="3765680"/>
            <a:chExt cx="825348" cy="875407"/>
          </a:xfrm>
        </p:grpSpPr>
        <p:grpSp>
          <p:nvGrpSpPr>
            <p:cNvPr id="192" name="Group 191"/>
            <p:cNvGrpSpPr/>
            <p:nvPr/>
          </p:nvGrpSpPr>
          <p:grpSpPr>
            <a:xfrm>
              <a:off x="4518430" y="3765680"/>
              <a:ext cx="754662" cy="875407"/>
              <a:chOff x="6699456" y="981553"/>
              <a:chExt cx="1144680" cy="1327828"/>
            </a:xfrm>
          </p:grpSpPr>
          <p:sp>
            <p:nvSpPr>
              <p:cNvPr id="194" name="Hexagon 193"/>
              <p:cNvSpPr/>
              <p:nvPr/>
            </p:nvSpPr>
            <p:spPr>
              <a:xfrm rot="16200000">
                <a:off x="6607882" y="1073127"/>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95" name="Hexagon 194"/>
              <p:cNvSpPr/>
              <p:nvPr/>
            </p:nvSpPr>
            <p:spPr>
              <a:xfrm rot="16200000">
                <a:off x="6730769" y="1156550"/>
                <a:ext cx="1100618"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93" name="TextBox 192"/>
            <p:cNvSpPr txBox="1"/>
            <p:nvPr/>
          </p:nvSpPr>
          <p:spPr>
            <a:xfrm>
              <a:off x="4784306" y="3981998"/>
              <a:ext cx="559472" cy="424993"/>
            </a:xfrm>
            <a:prstGeom prst="rect">
              <a:avLst/>
            </a:prstGeom>
            <a:noFill/>
          </p:spPr>
          <p:txBody>
            <a:bodyPr wrap="square" lIns="0" tIns="0" rIns="0" bIns="0" rtlCol="0">
              <a:spAutoFit/>
            </a:bodyPr>
            <a:lstStyle/>
            <a:p>
              <a:r>
                <a:rPr lang="es-ES" sz="1400" b="1" dirty="0"/>
                <a:t>9</a:t>
              </a:r>
              <a:endParaRPr lang="en-GB" sz="1400" b="1" dirty="0" err="1"/>
            </a:p>
          </p:txBody>
        </p:sp>
      </p:grpSp>
      <p:grpSp>
        <p:nvGrpSpPr>
          <p:cNvPr id="196" name="Group 195"/>
          <p:cNvGrpSpPr/>
          <p:nvPr/>
        </p:nvGrpSpPr>
        <p:grpSpPr>
          <a:xfrm>
            <a:off x="5203931" y="3535428"/>
            <a:ext cx="415295" cy="443775"/>
            <a:chOff x="4524551" y="3756113"/>
            <a:chExt cx="819227" cy="875407"/>
          </a:xfrm>
        </p:grpSpPr>
        <p:grpSp>
          <p:nvGrpSpPr>
            <p:cNvPr id="197" name="Group 196"/>
            <p:cNvGrpSpPr/>
            <p:nvPr/>
          </p:nvGrpSpPr>
          <p:grpSpPr>
            <a:xfrm>
              <a:off x="4524551" y="3756113"/>
              <a:ext cx="754662" cy="875407"/>
              <a:chOff x="6708741" y="967041"/>
              <a:chExt cx="1144680" cy="1327828"/>
            </a:xfrm>
          </p:grpSpPr>
          <p:sp>
            <p:nvSpPr>
              <p:cNvPr id="199" name="Hexagon 198"/>
              <p:cNvSpPr/>
              <p:nvPr/>
            </p:nvSpPr>
            <p:spPr>
              <a:xfrm rot="16200000">
                <a:off x="6617167" y="1058615"/>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200" name="Hexagon 199"/>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98" name="TextBox 197"/>
            <p:cNvSpPr txBox="1"/>
            <p:nvPr/>
          </p:nvSpPr>
          <p:spPr>
            <a:xfrm>
              <a:off x="4784306" y="3981998"/>
              <a:ext cx="559472" cy="424993"/>
            </a:xfrm>
            <a:prstGeom prst="rect">
              <a:avLst/>
            </a:prstGeom>
            <a:noFill/>
          </p:spPr>
          <p:txBody>
            <a:bodyPr wrap="square" lIns="0" tIns="0" rIns="0" bIns="0" rtlCol="0">
              <a:spAutoFit/>
            </a:bodyPr>
            <a:lstStyle/>
            <a:p>
              <a:r>
                <a:rPr lang="es-ES" sz="1400" b="1" dirty="0"/>
                <a:t>8</a:t>
              </a:r>
              <a:endParaRPr lang="en-GB" sz="1400" b="1" dirty="0" err="1"/>
            </a:p>
          </p:txBody>
        </p:sp>
      </p:grpSp>
      <p:grpSp>
        <p:nvGrpSpPr>
          <p:cNvPr id="201" name="Group 200"/>
          <p:cNvGrpSpPr/>
          <p:nvPr/>
        </p:nvGrpSpPr>
        <p:grpSpPr>
          <a:xfrm>
            <a:off x="5581676" y="2230501"/>
            <a:ext cx="415295" cy="443775"/>
            <a:chOff x="4524551" y="3756113"/>
            <a:chExt cx="819227" cy="875407"/>
          </a:xfrm>
        </p:grpSpPr>
        <p:grpSp>
          <p:nvGrpSpPr>
            <p:cNvPr id="202" name="Group 201"/>
            <p:cNvGrpSpPr/>
            <p:nvPr/>
          </p:nvGrpSpPr>
          <p:grpSpPr>
            <a:xfrm>
              <a:off x="4524551" y="3756113"/>
              <a:ext cx="754662" cy="875407"/>
              <a:chOff x="6708741" y="967041"/>
              <a:chExt cx="1144680" cy="1327828"/>
            </a:xfrm>
          </p:grpSpPr>
          <p:sp>
            <p:nvSpPr>
              <p:cNvPr id="204" name="Hexagon 203"/>
              <p:cNvSpPr/>
              <p:nvPr/>
            </p:nvSpPr>
            <p:spPr>
              <a:xfrm rot="16200000">
                <a:off x="6617167" y="1058615"/>
                <a:ext cx="1327828" cy="1144680"/>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205" name="Hexagon 204"/>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203" name="TextBox 202"/>
            <p:cNvSpPr txBox="1"/>
            <p:nvPr/>
          </p:nvSpPr>
          <p:spPr>
            <a:xfrm>
              <a:off x="4784306" y="3981998"/>
              <a:ext cx="559472" cy="424993"/>
            </a:xfrm>
            <a:prstGeom prst="rect">
              <a:avLst/>
            </a:prstGeom>
            <a:noFill/>
          </p:spPr>
          <p:txBody>
            <a:bodyPr wrap="square" lIns="0" tIns="0" rIns="0" bIns="0" rtlCol="0">
              <a:spAutoFit/>
            </a:bodyPr>
            <a:lstStyle/>
            <a:p>
              <a:r>
                <a:rPr lang="es-ES" sz="1400" b="1" dirty="0"/>
                <a:t>9</a:t>
              </a:r>
              <a:endParaRPr lang="en-GB" sz="1400" b="1" dirty="0" err="1"/>
            </a:p>
          </p:txBody>
        </p:sp>
      </p:grpSp>
      <p:grpSp>
        <p:nvGrpSpPr>
          <p:cNvPr id="206" name="Group 205"/>
          <p:cNvGrpSpPr/>
          <p:nvPr/>
        </p:nvGrpSpPr>
        <p:grpSpPr>
          <a:xfrm>
            <a:off x="5201492" y="2881261"/>
            <a:ext cx="415295" cy="443775"/>
            <a:chOff x="4524551" y="3756113"/>
            <a:chExt cx="819227" cy="875407"/>
          </a:xfrm>
        </p:grpSpPr>
        <p:grpSp>
          <p:nvGrpSpPr>
            <p:cNvPr id="207" name="Group 206"/>
            <p:cNvGrpSpPr/>
            <p:nvPr/>
          </p:nvGrpSpPr>
          <p:grpSpPr>
            <a:xfrm>
              <a:off x="4524551" y="3756113"/>
              <a:ext cx="754662" cy="875407"/>
              <a:chOff x="6708741" y="967041"/>
              <a:chExt cx="1144680" cy="1327828"/>
            </a:xfrm>
          </p:grpSpPr>
          <p:sp>
            <p:nvSpPr>
              <p:cNvPr id="209" name="Hexagon 208"/>
              <p:cNvSpPr/>
              <p:nvPr/>
            </p:nvSpPr>
            <p:spPr>
              <a:xfrm rot="16200000">
                <a:off x="6617167" y="1058615"/>
                <a:ext cx="1327828" cy="1144680"/>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210" name="Hexagon 209"/>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208" name="TextBox 207"/>
            <p:cNvSpPr txBox="1"/>
            <p:nvPr/>
          </p:nvSpPr>
          <p:spPr>
            <a:xfrm>
              <a:off x="4784306" y="3981998"/>
              <a:ext cx="559472" cy="424993"/>
            </a:xfrm>
            <a:prstGeom prst="rect">
              <a:avLst/>
            </a:prstGeom>
            <a:noFill/>
          </p:spPr>
          <p:txBody>
            <a:bodyPr wrap="square" lIns="0" tIns="0" rIns="0" bIns="0" rtlCol="0">
              <a:spAutoFit/>
            </a:bodyPr>
            <a:lstStyle/>
            <a:p>
              <a:r>
                <a:rPr lang="es-ES" sz="1400" b="1" dirty="0"/>
                <a:t>8</a:t>
              </a:r>
              <a:endParaRPr lang="en-GB" sz="1400" b="1" dirty="0" err="1"/>
            </a:p>
          </p:txBody>
        </p:sp>
      </p:grpSp>
      <p:grpSp>
        <p:nvGrpSpPr>
          <p:cNvPr id="211" name="Group 210"/>
          <p:cNvGrpSpPr/>
          <p:nvPr/>
        </p:nvGrpSpPr>
        <p:grpSpPr>
          <a:xfrm>
            <a:off x="5995825" y="3535431"/>
            <a:ext cx="382565" cy="443775"/>
            <a:chOff x="4524551" y="3756113"/>
            <a:chExt cx="754662" cy="875407"/>
          </a:xfrm>
        </p:grpSpPr>
        <p:grpSp>
          <p:nvGrpSpPr>
            <p:cNvPr id="212" name="Group 211"/>
            <p:cNvGrpSpPr/>
            <p:nvPr/>
          </p:nvGrpSpPr>
          <p:grpSpPr>
            <a:xfrm>
              <a:off x="4524551" y="3756113"/>
              <a:ext cx="754662" cy="875407"/>
              <a:chOff x="6708741" y="967041"/>
              <a:chExt cx="1144680" cy="1327828"/>
            </a:xfrm>
          </p:grpSpPr>
          <p:sp>
            <p:nvSpPr>
              <p:cNvPr id="214" name="Hexagon 213"/>
              <p:cNvSpPr/>
              <p:nvPr/>
            </p:nvSpPr>
            <p:spPr>
              <a:xfrm rot="16200000">
                <a:off x="6617167" y="1058615"/>
                <a:ext cx="1327828" cy="1144680"/>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215" name="Hexagon 214"/>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213" name="TextBox 212"/>
            <p:cNvSpPr txBox="1"/>
            <p:nvPr/>
          </p:nvSpPr>
          <p:spPr>
            <a:xfrm>
              <a:off x="4708016" y="3981998"/>
              <a:ext cx="559472" cy="424993"/>
            </a:xfrm>
            <a:prstGeom prst="rect">
              <a:avLst/>
            </a:prstGeom>
            <a:noFill/>
          </p:spPr>
          <p:txBody>
            <a:bodyPr wrap="square" lIns="0" tIns="0" rIns="0" bIns="0" rtlCol="0">
              <a:spAutoFit/>
            </a:bodyPr>
            <a:lstStyle/>
            <a:p>
              <a:r>
                <a:rPr lang="es-ES" sz="1400" b="1" dirty="0"/>
                <a:t>10</a:t>
              </a:r>
              <a:endParaRPr lang="en-GB" sz="1400" b="1" dirty="0" err="1"/>
            </a:p>
          </p:txBody>
        </p:sp>
      </p:grpSp>
      <p:cxnSp>
        <p:nvCxnSpPr>
          <p:cNvPr id="216" name="Straight Connector 215"/>
          <p:cNvCxnSpPr/>
          <p:nvPr/>
        </p:nvCxnSpPr>
        <p:spPr bwMode="gray">
          <a:xfrm>
            <a:off x="6136736" y="2452732"/>
            <a:ext cx="440637" cy="471652"/>
          </a:xfrm>
          <a:prstGeom prst="line">
            <a:avLst/>
          </a:prstGeom>
          <a:ln w="19050">
            <a:solidFill>
              <a:schemeClr val="accent3"/>
            </a:solidFill>
            <a:headEnd type="triangle" w="med" len="lg"/>
            <a:tailEnd type="none"/>
          </a:ln>
        </p:spPr>
        <p:style>
          <a:lnRef idx="1">
            <a:schemeClr val="accent1"/>
          </a:lnRef>
          <a:fillRef idx="0">
            <a:schemeClr val="accent1"/>
          </a:fillRef>
          <a:effectRef idx="0">
            <a:schemeClr val="accent1"/>
          </a:effectRef>
          <a:fontRef idx="minor">
            <a:schemeClr val="tx1"/>
          </a:fontRef>
        </p:style>
      </p:cxnSp>
      <p:sp>
        <p:nvSpPr>
          <p:cNvPr id="218" name="TextBox 217"/>
          <p:cNvSpPr txBox="1"/>
          <p:nvPr/>
        </p:nvSpPr>
        <p:spPr>
          <a:xfrm>
            <a:off x="1509780" y="2360328"/>
            <a:ext cx="525785" cy="138499"/>
          </a:xfrm>
          <a:prstGeom prst="rect">
            <a:avLst/>
          </a:prstGeom>
          <a:noFill/>
        </p:spPr>
        <p:txBody>
          <a:bodyPr wrap="none" lIns="0" tIns="0" rIns="0" bIns="0" rtlCol="0">
            <a:spAutoFit/>
          </a:bodyPr>
          <a:lstStyle/>
          <a:p>
            <a:r>
              <a:rPr lang="es-ES" sz="900" dirty="0">
                <a:solidFill>
                  <a:schemeClr val="accent1"/>
                </a:solidFill>
              </a:rPr>
              <a:t>Partition-0</a:t>
            </a:r>
            <a:endParaRPr lang="en-GB" sz="900" dirty="0" err="1">
              <a:solidFill>
                <a:schemeClr val="accent1"/>
              </a:solidFill>
            </a:endParaRPr>
          </a:p>
        </p:txBody>
      </p:sp>
      <p:sp>
        <p:nvSpPr>
          <p:cNvPr id="219" name="TextBox 218"/>
          <p:cNvSpPr txBox="1"/>
          <p:nvPr/>
        </p:nvSpPr>
        <p:spPr>
          <a:xfrm>
            <a:off x="1509780" y="3025377"/>
            <a:ext cx="525785" cy="138499"/>
          </a:xfrm>
          <a:prstGeom prst="rect">
            <a:avLst/>
          </a:prstGeom>
          <a:noFill/>
        </p:spPr>
        <p:txBody>
          <a:bodyPr wrap="none" lIns="0" tIns="0" rIns="0" bIns="0" rtlCol="0">
            <a:spAutoFit/>
          </a:bodyPr>
          <a:lstStyle/>
          <a:p>
            <a:r>
              <a:rPr lang="es-ES" sz="900" dirty="0">
                <a:solidFill>
                  <a:schemeClr val="accent1"/>
                </a:solidFill>
              </a:rPr>
              <a:t>Partition-1</a:t>
            </a:r>
            <a:endParaRPr lang="en-GB" sz="900" dirty="0" err="1">
              <a:solidFill>
                <a:schemeClr val="accent1"/>
              </a:solidFill>
            </a:endParaRPr>
          </a:p>
        </p:txBody>
      </p:sp>
      <p:sp>
        <p:nvSpPr>
          <p:cNvPr id="220" name="TextBox 219"/>
          <p:cNvSpPr txBox="1"/>
          <p:nvPr/>
        </p:nvSpPr>
        <p:spPr>
          <a:xfrm>
            <a:off x="1513444" y="3656348"/>
            <a:ext cx="525785" cy="138499"/>
          </a:xfrm>
          <a:prstGeom prst="rect">
            <a:avLst/>
          </a:prstGeom>
          <a:noFill/>
        </p:spPr>
        <p:txBody>
          <a:bodyPr wrap="none" lIns="0" tIns="0" rIns="0" bIns="0" rtlCol="0">
            <a:spAutoFit/>
          </a:bodyPr>
          <a:lstStyle/>
          <a:p>
            <a:r>
              <a:rPr lang="es-ES" sz="900" dirty="0">
                <a:solidFill>
                  <a:schemeClr val="accent1"/>
                </a:solidFill>
              </a:rPr>
              <a:t>Partition-2</a:t>
            </a:r>
            <a:endParaRPr lang="en-GB" sz="900" dirty="0" err="1">
              <a:solidFill>
                <a:schemeClr val="accent1"/>
              </a:solidFill>
            </a:endParaRPr>
          </a:p>
        </p:txBody>
      </p:sp>
      <p:sp>
        <p:nvSpPr>
          <p:cNvPr id="221" name="Left Bracket 220"/>
          <p:cNvSpPr/>
          <p:nvPr/>
        </p:nvSpPr>
        <p:spPr bwMode="gray">
          <a:xfrm>
            <a:off x="1333513" y="2293437"/>
            <a:ext cx="143393" cy="1617320"/>
          </a:xfrm>
          <a:prstGeom prst="leftBracket">
            <a:avLst/>
          </a:prstGeom>
          <a:ln w="1905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222" name="Straight Connector 221"/>
          <p:cNvCxnSpPr/>
          <p:nvPr/>
        </p:nvCxnSpPr>
        <p:spPr bwMode="gray">
          <a:xfrm flipV="1">
            <a:off x="5756552" y="2924384"/>
            <a:ext cx="820821" cy="179108"/>
          </a:xfrm>
          <a:prstGeom prst="line">
            <a:avLst/>
          </a:prstGeom>
          <a:ln w="19050">
            <a:solidFill>
              <a:schemeClr val="accent3"/>
            </a:solidFill>
            <a:headEnd type="triangle" w="med" len="lg"/>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bwMode="gray">
          <a:xfrm flipV="1">
            <a:off x="6326873" y="2924384"/>
            <a:ext cx="250500" cy="611047"/>
          </a:xfrm>
          <a:prstGeom prst="line">
            <a:avLst/>
          </a:prstGeom>
          <a:ln w="19050">
            <a:solidFill>
              <a:schemeClr val="accent3"/>
            </a:solidFill>
            <a:headEnd type="triangle" w="med" len="lg"/>
            <a:tailEnd type="none"/>
          </a:ln>
        </p:spPr>
        <p:style>
          <a:lnRef idx="1">
            <a:schemeClr val="accent1"/>
          </a:lnRef>
          <a:fillRef idx="0">
            <a:schemeClr val="accent1"/>
          </a:fillRef>
          <a:effectRef idx="0">
            <a:schemeClr val="accent1"/>
          </a:effectRef>
          <a:fontRef idx="minor">
            <a:schemeClr val="tx1"/>
          </a:fontRef>
        </p:style>
      </p:cxnSp>
      <p:grpSp>
        <p:nvGrpSpPr>
          <p:cNvPr id="224" name="Group 223"/>
          <p:cNvGrpSpPr/>
          <p:nvPr/>
        </p:nvGrpSpPr>
        <p:grpSpPr>
          <a:xfrm>
            <a:off x="7263085" y="2591005"/>
            <a:ext cx="517067" cy="599797"/>
            <a:chOff x="7891893" y="1185046"/>
            <a:chExt cx="517067" cy="599797"/>
          </a:xfrm>
        </p:grpSpPr>
        <p:grpSp>
          <p:nvGrpSpPr>
            <p:cNvPr id="225" name="Group 224"/>
            <p:cNvGrpSpPr/>
            <p:nvPr/>
          </p:nvGrpSpPr>
          <p:grpSpPr>
            <a:xfrm>
              <a:off x="7891893" y="1185046"/>
              <a:ext cx="517067" cy="599797"/>
              <a:chOff x="6708741" y="967041"/>
              <a:chExt cx="1144680" cy="1327828"/>
            </a:xfrm>
          </p:grpSpPr>
          <p:sp>
            <p:nvSpPr>
              <p:cNvPr id="227" name="Hexagon 226"/>
              <p:cNvSpPr/>
              <p:nvPr/>
            </p:nvSpPr>
            <p:spPr>
              <a:xfrm rot="16200000">
                <a:off x="6617167" y="1058615"/>
                <a:ext cx="1327828" cy="1144680"/>
              </a:xfrm>
              <a:prstGeom prst="hexagon">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228" name="Hexagon 227"/>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grpSp>
        <p:sp>
          <p:nvSpPr>
            <p:cNvPr id="226" name="TextBox 225"/>
            <p:cNvSpPr txBox="1"/>
            <p:nvPr/>
          </p:nvSpPr>
          <p:spPr>
            <a:xfrm>
              <a:off x="7985510" y="1438777"/>
              <a:ext cx="314189" cy="92333"/>
            </a:xfrm>
            <a:prstGeom prst="rect">
              <a:avLst/>
            </a:prstGeom>
            <a:noFill/>
          </p:spPr>
          <p:txBody>
            <a:bodyPr wrap="none" lIns="0" tIns="0" rIns="0" bIns="0" rtlCol="0">
              <a:spAutoFit/>
            </a:bodyPr>
            <a:lstStyle/>
            <a:p>
              <a:r>
                <a:rPr lang="es-ES" sz="600" dirty="0"/>
                <a:t>Producer</a:t>
              </a:r>
              <a:endParaRPr lang="en-GB" sz="1400" dirty="0" err="1"/>
            </a:p>
          </p:txBody>
        </p:sp>
      </p:grpSp>
      <p:grpSp>
        <p:nvGrpSpPr>
          <p:cNvPr id="229" name="Group 228"/>
          <p:cNvGrpSpPr/>
          <p:nvPr/>
        </p:nvGrpSpPr>
        <p:grpSpPr>
          <a:xfrm>
            <a:off x="6664565" y="2632402"/>
            <a:ext cx="517067" cy="599797"/>
            <a:chOff x="7891893" y="1185046"/>
            <a:chExt cx="517067" cy="599797"/>
          </a:xfrm>
        </p:grpSpPr>
        <p:grpSp>
          <p:nvGrpSpPr>
            <p:cNvPr id="230" name="Group 229"/>
            <p:cNvGrpSpPr/>
            <p:nvPr/>
          </p:nvGrpSpPr>
          <p:grpSpPr>
            <a:xfrm>
              <a:off x="7891893" y="1185046"/>
              <a:ext cx="517067" cy="599797"/>
              <a:chOff x="6708741" y="967041"/>
              <a:chExt cx="1144680" cy="1327828"/>
            </a:xfrm>
          </p:grpSpPr>
          <p:sp>
            <p:nvSpPr>
              <p:cNvPr id="232" name="Hexagon 231"/>
              <p:cNvSpPr/>
              <p:nvPr/>
            </p:nvSpPr>
            <p:spPr>
              <a:xfrm rot="16200000">
                <a:off x="6617167" y="1058615"/>
                <a:ext cx="1327828" cy="1144680"/>
              </a:xfrm>
              <a:prstGeom prst="hexagon">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233" name="Hexagon 232"/>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grpSp>
        <p:sp>
          <p:nvSpPr>
            <p:cNvPr id="231" name="TextBox 230"/>
            <p:cNvSpPr txBox="1"/>
            <p:nvPr/>
          </p:nvSpPr>
          <p:spPr>
            <a:xfrm>
              <a:off x="7985510" y="1438777"/>
              <a:ext cx="314189" cy="92333"/>
            </a:xfrm>
            <a:prstGeom prst="rect">
              <a:avLst/>
            </a:prstGeom>
            <a:noFill/>
          </p:spPr>
          <p:txBody>
            <a:bodyPr wrap="none" lIns="0" tIns="0" rIns="0" bIns="0" rtlCol="0">
              <a:spAutoFit/>
            </a:bodyPr>
            <a:lstStyle/>
            <a:p>
              <a:r>
                <a:rPr lang="es-ES" sz="600" dirty="0"/>
                <a:t>Producer</a:t>
              </a:r>
              <a:endParaRPr lang="en-GB" sz="1400" dirty="0" err="1"/>
            </a:p>
          </p:txBody>
        </p:sp>
      </p:grpSp>
      <p:grpSp>
        <p:nvGrpSpPr>
          <p:cNvPr id="234" name="Group 233"/>
          <p:cNvGrpSpPr/>
          <p:nvPr/>
        </p:nvGrpSpPr>
        <p:grpSpPr>
          <a:xfrm>
            <a:off x="6942757" y="2059853"/>
            <a:ext cx="517067" cy="599797"/>
            <a:chOff x="7891893" y="1185046"/>
            <a:chExt cx="517067" cy="599797"/>
          </a:xfrm>
        </p:grpSpPr>
        <p:grpSp>
          <p:nvGrpSpPr>
            <p:cNvPr id="235" name="Group 234"/>
            <p:cNvGrpSpPr/>
            <p:nvPr/>
          </p:nvGrpSpPr>
          <p:grpSpPr>
            <a:xfrm>
              <a:off x="7891893" y="1185046"/>
              <a:ext cx="517067" cy="599797"/>
              <a:chOff x="6708741" y="967041"/>
              <a:chExt cx="1144680" cy="1327828"/>
            </a:xfrm>
          </p:grpSpPr>
          <p:sp>
            <p:nvSpPr>
              <p:cNvPr id="237" name="Hexagon 236"/>
              <p:cNvSpPr/>
              <p:nvPr/>
            </p:nvSpPr>
            <p:spPr>
              <a:xfrm rot="16200000">
                <a:off x="6617167" y="1058615"/>
                <a:ext cx="1327828" cy="1144680"/>
              </a:xfrm>
              <a:prstGeom prst="hexagon">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238" name="Hexagon 237"/>
              <p:cNvSpPr/>
              <p:nvPr/>
            </p:nvSpPr>
            <p:spPr>
              <a:xfrm rot="16200000">
                <a:off x="6730770" y="1156551"/>
                <a:ext cx="1100619"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grpSp>
        <p:sp>
          <p:nvSpPr>
            <p:cNvPr id="236" name="TextBox 235"/>
            <p:cNvSpPr txBox="1"/>
            <p:nvPr/>
          </p:nvSpPr>
          <p:spPr>
            <a:xfrm>
              <a:off x="7985510" y="1438777"/>
              <a:ext cx="314189" cy="92333"/>
            </a:xfrm>
            <a:prstGeom prst="rect">
              <a:avLst/>
            </a:prstGeom>
            <a:noFill/>
          </p:spPr>
          <p:txBody>
            <a:bodyPr wrap="none" lIns="0" tIns="0" rIns="0" bIns="0" rtlCol="0">
              <a:spAutoFit/>
            </a:bodyPr>
            <a:lstStyle/>
            <a:p>
              <a:r>
                <a:rPr lang="es-ES" sz="600" dirty="0"/>
                <a:t>Producer</a:t>
              </a:r>
              <a:endParaRPr lang="en-GB" sz="1400" dirty="0" err="1"/>
            </a:p>
          </p:txBody>
        </p:sp>
      </p:grpSp>
      <p:sp>
        <p:nvSpPr>
          <p:cNvPr id="239" name="TextBox 238"/>
          <p:cNvSpPr txBox="1"/>
          <p:nvPr/>
        </p:nvSpPr>
        <p:spPr>
          <a:xfrm>
            <a:off x="1083850" y="1292398"/>
            <a:ext cx="6397004"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t>A stream of messages belonging to a particular category is called a </a:t>
            </a:r>
            <a:r>
              <a:rPr lang="en-US" sz="1200" b="1" dirty="0">
                <a:solidFill>
                  <a:schemeClr val="accent2">
                    <a:lumMod val="75000"/>
                  </a:schemeClr>
                </a:solidFill>
              </a:rPr>
              <a:t>topic</a:t>
            </a:r>
            <a:endParaRPr lang="es-ES" sz="1000" b="1" dirty="0">
              <a:solidFill>
                <a:schemeClr val="accent2">
                  <a:lumMod val="75000"/>
                </a:schemeClr>
              </a:solidFill>
            </a:endParaRPr>
          </a:p>
          <a:p>
            <a:pPr marL="171450" indent="-171450">
              <a:buFont typeface="Arial" panose="020B0604020202020204" pitchFamily="34" charset="0"/>
              <a:buChar char="•"/>
            </a:pPr>
            <a:r>
              <a:rPr lang="es-ES" sz="1200" dirty="0"/>
              <a:t>A Kafka Topic is divided into </a:t>
            </a:r>
            <a:r>
              <a:rPr lang="es-ES" sz="1200" b="1" dirty="0">
                <a:solidFill>
                  <a:schemeClr val="accent2"/>
                </a:solidFill>
              </a:rPr>
              <a:t>partitions</a:t>
            </a:r>
            <a:r>
              <a:rPr lang="es-ES" sz="1200" dirty="0"/>
              <a:t>. </a:t>
            </a:r>
          </a:p>
          <a:p>
            <a:pPr marL="171450" indent="-171450">
              <a:buFont typeface="Arial" panose="020B0604020202020204" pitchFamily="34" charset="0"/>
              <a:buChar char="•"/>
            </a:pPr>
            <a:r>
              <a:rPr lang="es-ES" sz="1200" dirty="0"/>
              <a:t>Each partition is a totally ordered sequence of messages with unique ID </a:t>
            </a:r>
            <a:r>
              <a:rPr lang="en-US" sz="1200" dirty="0"/>
              <a:t>called as </a:t>
            </a:r>
            <a:r>
              <a:rPr lang="en-US" sz="1200" b="1" dirty="0">
                <a:solidFill>
                  <a:schemeClr val="accent2">
                    <a:lumMod val="75000"/>
                  </a:schemeClr>
                </a:solidFill>
              </a:rPr>
              <a:t>offset</a:t>
            </a:r>
            <a:r>
              <a:rPr lang="en-US" sz="1200" dirty="0"/>
              <a:t>.</a:t>
            </a:r>
            <a:endParaRPr lang="es-ES" sz="1200" dirty="0"/>
          </a:p>
          <a:p>
            <a:pPr marL="171450" indent="-171450">
              <a:buFont typeface="Arial" panose="020B0604020202020204" pitchFamily="34" charset="0"/>
              <a:buChar char="•"/>
            </a:pPr>
            <a:r>
              <a:rPr lang="en-US" sz="1200" b="1" dirty="0">
                <a:solidFill>
                  <a:schemeClr val="accent2">
                    <a:lumMod val="75000"/>
                  </a:schemeClr>
                </a:solidFill>
              </a:rPr>
              <a:t>Leader</a:t>
            </a:r>
            <a:r>
              <a:rPr lang="en-US" sz="1200" dirty="0"/>
              <a:t>. Every partition has one server acting as a leader.</a:t>
            </a:r>
            <a:endParaRPr lang="en-GB" sz="1200" dirty="0" err="1"/>
          </a:p>
        </p:txBody>
      </p:sp>
      <p:grpSp>
        <p:nvGrpSpPr>
          <p:cNvPr id="242" name="Group 241"/>
          <p:cNvGrpSpPr/>
          <p:nvPr/>
        </p:nvGrpSpPr>
        <p:grpSpPr>
          <a:xfrm>
            <a:off x="7001135" y="3187579"/>
            <a:ext cx="517067" cy="599797"/>
            <a:chOff x="7891893" y="1185046"/>
            <a:chExt cx="517067" cy="599797"/>
          </a:xfrm>
        </p:grpSpPr>
        <p:grpSp>
          <p:nvGrpSpPr>
            <p:cNvPr id="243" name="Group 242"/>
            <p:cNvGrpSpPr/>
            <p:nvPr/>
          </p:nvGrpSpPr>
          <p:grpSpPr>
            <a:xfrm>
              <a:off x="7891893" y="1185046"/>
              <a:ext cx="517067" cy="599797"/>
              <a:chOff x="6708741" y="967041"/>
              <a:chExt cx="1144680" cy="1327828"/>
            </a:xfrm>
          </p:grpSpPr>
          <p:sp>
            <p:nvSpPr>
              <p:cNvPr id="245" name="Hexagon 244"/>
              <p:cNvSpPr/>
              <p:nvPr/>
            </p:nvSpPr>
            <p:spPr>
              <a:xfrm rot="16200000">
                <a:off x="6617167" y="1058615"/>
                <a:ext cx="1327828" cy="1144680"/>
              </a:xfrm>
              <a:prstGeom prst="hexagon">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246" name="Hexagon 245"/>
              <p:cNvSpPr/>
              <p:nvPr/>
            </p:nvSpPr>
            <p:spPr>
              <a:xfrm rot="16200000">
                <a:off x="6730770" y="1156551"/>
                <a:ext cx="1100620" cy="948810"/>
              </a:xfrm>
              <a:prstGeom prst="hexagon">
                <a:avLst/>
              </a:prstGeom>
              <a:gradFill flip="none" rotWithShape="1">
                <a:gsLst>
                  <a:gs pos="0">
                    <a:schemeClr val="bg2">
                      <a:lumMod val="90000"/>
                    </a:schemeClr>
                  </a:gs>
                  <a:gs pos="53000">
                    <a:srgbClr val="F1EFF0"/>
                  </a:gs>
                  <a:gs pos="77000">
                    <a:srgbClr val="EFEDEE"/>
                  </a:gs>
                  <a:gs pos="100000">
                    <a:srgbClr val="EFEBEC"/>
                  </a:gs>
                </a:gsLst>
                <a:path path="circle">
                  <a:fillToRect l="100000" b="100000"/>
                </a:path>
                <a:tileRect t="-100000" r="-100000"/>
              </a:gradFill>
              <a:ln>
                <a:noFill/>
              </a:ln>
              <a:effectLst>
                <a:outerShdw blurRad="1016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grpSp>
        <p:sp>
          <p:nvSpPr>
            <p:cNvPr id="244" name="TextBox 243"/>
            <p:cNvSpPr txBox="1"/>
            <p:nvPr/>
          </p:nvSpPr>
          <p:spPr>
            <a:xfrm>
              <a:off x="7985510" y="1438777"/>
              <a:ext cx="314189" cy="92333"/>
            </a:xfrm>
            <a:prstGeom prst="rect">
              <a:avLst/>
            </a:prstGeom>
            <a:noFill/>
          </p:spPr>
          <p:txBody>
            <a:bodyPr wrap="none" lIns="0" tIns="0" rIns="0" bIns="0" rtlCol="0">
              <a:spAutoFit/>
            </a:bodyPr>
            <a:lstStyle/>
            <a:p>
              <a:r>
                <a:rPr lang="es-ES" sz="600" dirty="0"/>
                <a:t>Producer</a:t>
              </a:r>
              <a:endParaRPr lang="en-GB" sz="1400" dirty="0" err="1"/>
            </a:p>
          </p:txBody>
        </p:sp>
      </p:grpSp>
      <p:pic>
        <p:nvPicPr>
          <p:cNvPr id="251" name="Picture 2" descr="Resultado de imagen de apache kafka"/>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416252" y="519319"/>
            <a:ext cx="1366366" cy="683183"/>
          </a:xfrm>
          <a:prstGeom prst="rect">
            <a:avLst/>
          </a:prstGeom>
          <a:noFill/>
          <a:extLst>
            <a:ext uri="{909E8E84-426E-40DD-AFC4-6F175D3DCCD1}">
              <a14:hiddenFill xmlns:a14="http://schemas.microsoft.com/office/drawing/2010/main">
                <a:solidFill>
                  <a:srgbClr val="FFFFFF"/>
                </a:solidFill>
              </a14:hiddenFill>
            </a:ext>
          </a:extLst>
        </p:spPr>
      </p:pic>
      <p:sp>
        <p:nvSpPr>
          <p:cNvPr id="252" name="Rectangle 251"/>
          <p:cNvSpPr/>
          <p:nvPr/>
        </p:nvSpPr>
        <p:spPr>
          <a:xfrm>
            <a:off x="807152" y="4142839"/>
            <a:ext cx="8007549" cy="707886"/>
          </a:xfrm>
          <a:prstGeom prst="rect">
            <a:avLst/>
          </a:prstGeom>
        </p:spPr>
        <p:txBody>
          <a:bodyPr wrap="square">
            <a:spAutoFit/>
          </a:bodyPr>
          <a:lstStyle/>
          <a:p>
            <a:pPr marL="171450" indent="-171450">
              <a:buFont typeface="Arial" panose="020B0604020202020204" pitchFamily="34" charset="0"/>
              <a:buChar char="•"/>
            </a:pPr>
            <a:r>
              <a:rPr lang="en-US" sz="1000" dirty="0">
                <a:solidFill>
                  <a:srgbClr val="000000"/>
                </a:solidFill>
              </a:rPr>
              <a:t>If there are </a:t>
            </a:r>
            <a:r>
              <a:rPr lang="en-US" sz="1000" b="1" dirty="0">
                <a:solidFill>
                  <a:schemeClr val="accent2">
                    <a:lumMod val="75000"/>
                  </a:schemeClr>
                </a:solidFill>
              </a:rPr>
              <a:t>N</a:t>
            </a:r>
            <a:r>
              <a:rPr lang="en-US" sz="1000" dirty="0">
                <a:solidFill>
                  <a:srgbClr val="000000"/>
                </a:solidFill>
              </a:rPr>
              <a:t> partitions in a topic and </a:t>
            </a:r>
            <a:r>
              <a:rPr lang="en-US" sz="1000" b="1" dirty="0">
                <a:solidFill>
                  <a:schemeClr val="accent2">
                    <a:lumMod val="75000"/>
                  </a:schemeClr>
                </a:solidFill>
              </a:rPr>
              <a:t>N </a:t>
            </a:r>
            <a:r>
              <a:rPr lang="en-US" sz="1000" dirty="0">
                <a:solidFill>
                  <a:srgbClr val="000000"/>
                </a:solidFill>
              </a:rPr>
              <a:t>number of brokers, each broker will have one partition.</a:t>
            </a:r>
          </a:p>
          <a:p>
            <a:pPr marL="171450" indent="-171450">
              <a:buFont typeface="Arial" panose="020B0604020202020204" pitchFamily="34" charset="0"/>
              <a:buChar char="•"/>
            </a:pPr>
            <a:r>
              <a:rPr lang="en-US" sz="1000" dirty="0"/>
              <a:t>If there are </a:t>
            </a:r>
            <a:r>
              <a:rPr lang="en-US" sz="1000" b="1" dirty="0">
                <a:solidFill>
                  <a:schemeClr val="accent2">
                    <a:lumMod val="75000"/>
                  </a:schemeClr>
                </a:solidFill>
              </a:rPr>
              <a:t>N</a:t>
            </a:r>
            <a:r>
              <a:rPr lang="en-US" sz="1000" dirty="0"/>
              <a:t> partitions in a topic and more than N brokers </a:t>
            </a:r>
            <a:r>
              <a:rPr lang="en-US" sz="1000" b="1" dirty="0">
                <a:solidFill>
                  <a:schemeClr val="accent2">
                    <a:lumMod val="75000"/>
                  </a:schemeClr>
                </a:solidFill>
              </a:rPr>
              <a:t>(n + m), </a:t>
            </a:r>
            <a:r>
              <a:rPr lang="en-US" sz="1000" dirty="0"/>
              <a:t>the first N broker will have one partition and the next M broker will not have any partition for that particular topic.</a:t>
            </a:r>
          </a:p>
          <a:p>
            <a:pPr marL="171450" indent="-171450">
              <a:buFont typeface="Arial" panose="020B0604020202020204" pitchFamily="34" charset="0"/>
              <a:buChar char="•"/>
            </a:pPr>
            <a:r>
              <a:rPr lang="en-US" sz="1000" dirty="0"/>
              <a:t>If there are </a:t>
            </a:r>
            <a:r>
              <a:rPr lang="en-US" sz="1000" b="1" dirty="0">
                <a:solidFill>
                  <a:schemeClr val="accent2">
                    <a:lumMod val="75000"/>
                  </a:schemeClr>
                </a:solidFill>
              </a:rPr>
              <a:t>N </a:t>
            </a:r>
            <a:r>
              <a:rPr lang="en-US" sz="1000" dirty="0"/>
              <a:t>partitions in a topic and less than N brokers </a:t>
            </a:r>
            <a:r>
              <a:rPr lang="en-US" sz="1000" b="1" dirty="0">
                <a:solidFill>
                  <a:schemeClr val="accent2">
                    <a:lumMod val="75000"/>
                  </a:schemeClr>
                </a:solidFill>
              </a:rPr>
              <a:t>(n-m), </a:t>
            </a:r>
            <a:r>
              <a:rPr lang="en-US" sz="1000" dirty="0"/>
              <a:t>each broker will have one or more partition sharing among them. </a:t>
            </a:r>
          </a:p>
        </p:txBody>
      </p:sp>
      <p:pic>
        <p:nvPicPr>
          <p:cNvPr id="217" name="Picture 2" descr="EDEM Escuela de Empresarios, Fundación de la Comunidad Valenciana -  Asociación Valenciana de Fundaciones de la CV">
            <a:extLst>
              <a:ext uri="{FF2B5EF4-FFF2-40B4-BE49-F238E27FC236}">
                <a16:creationId xmlns:a16="http://schemas.microsoft.com/office/drawing/2014/main" id="{31A10F95-3DEA-4F2B-B301-FD633FDA45F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26613" y="24305"/>
            <a:ext cx="1178539" cy="59520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40027861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 name="SP_AGENDA" val="SectionNumber SlideNumber"/>
  <p:tag name="ARTICULATE_SLIDE_COUNT" val="18"/>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kqVZ8dkJT2eQpdTWwzSysg"/>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8n3EK3aTQsuIpsZHYSiM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8AMlmrnR12MezoJCVI_tw"/>
</p:tagLst>
</file>

<file path=ppt/theme/theme1.xml><?xml version="1.0" encoding="utf-8"?>
<a:theme xmlns:a="http://schemas.openxmlformats.org/drawingml/2006/main" name="GFT_PPT_Template_16_9">
  <a:themeElements>
    <a:clrScheme name="GFT_colors_new">
      <a:dk1>
        <a:srgbClr val="000000"/>
      </a:dk1>
      <a:lt1>
        <a:sysClr val="window" lastClr="FFFFFF"/>
      </a:lt1>
      <a:dk2>
        <a:srgbClr val="4D4D4D"/>
      </a:dk2>
      <a:lt2>
        <a:srgbClr val="EDEDED"/>
      </a:lt2>
      <a:accent1>
        <a:srgbClr val="213E7F"/>
      </a:accent1>
      <a:accent2>
        <a:srgbClr val="0097D9"/>
      </a:accent2>
      <a:accent3>
        <a:srgbClr val="5082BE"/>
      </a:accent3>
      <a:accent4>
        <a:srgbClr val="59BBE6"/>
      </a:accent4>
      <a:accent5>
        <a:srgbClr val="969696"/>
      </a:accent5>
      <a:accent6>
        <a:srgbClr val="B9B9B9"/>
      </a:accent6>
      <a:hlink>
        <a:srgbClr val="213E7F"/>
      </a:hlink>
      <a:folHlink>
        <a:srgbClr val="0097D9"/>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12700">
          <a:no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custClrLst>
    <a:custClr name="Orange">
      <a:srgbClr val="EC6601"/>
    </a:custClr>
    <a:custClr>
      <a:srgbClr val="FFFFFF"/>
    </a:custClr>
    <a:custClr>
      <a:srgbClr val="FFFFFF"/>
    </a:custClr>
    <a:custClr>
      <a:srgbClr val="FFFFFF"/>
    </a:custClr>
    <a:custClr name="Blue 40%">
      <a:srgbClr val="73ACE1"/>
    </a:custClr>
    <a:custClr name="Light Blue 40%">
      <a:srgbClr val="99D5F0"/>
    </a:custClr>
    <a:custClr>
      <a:srgbClr val="FFFFFF"/>
    </a:custClr>
    <a:custClr>
      <a:srgbClr val="FFFFFF"/>
    </a:custClr>
    <a:custClr>
      <a:srgbClr val="FFFFFF"/>
    </a:custClr>
    <a:custClr name="Red">
      <a:srgbClr val="CC1000"/>
    </a:custClr>
    <a:custClr name="Pink">
      <a:srgbClr val="B02786"/>
    </a:custClr>
    <a:custClr>
      <a:srgbClr val="FFFFFF"/>
    </a:custClr>
    <a:custClr>
      <a:srgbClr val="FFFFFF"/>
    </a:custClr>
    <a:custClr>
      <a:srgbClr val="FFFFFF"/>
    </a:custClr>
    <a:custClr name="Blue 25%">
      <a:srgbClr val="AAC8E6"/>
    </a:custClr>
    <a:custClr name="Light Blue 25%">
      <a:srgbClr val="BAE3F5"/>
    </a:custClr>
    <a:custClr>
      <a:srgbClr val="FFFFFF"/>
    </a:custClr>
    <a:custClr>
      <a:srgbClr val="FFFFFF"/>
    </a:custClr>
    <a:custClr>
      <a:srgbClr val="FFFFFF"/>
    </a:custClr>
    <a:custClr name="Yellow">
      <a:srgbClr val="FDC800"/>
    </a:custClr>
    <a:custClr name="Rose">
      <a:srgbClr val="EC628B"/>
    </a:custClr>
    <a:custClr>
      <a:srgbClr val="FFFFFF"/>
    </a:custClr>
    <a:custClr>
      <a:srgbClr val="FFFFFF"/>
    </a:custClr>
    <a:custClr>
      <a:srgbClr val="FFFFFF"/>
    </a:custClr>
    <a:custClr name="Background Blue">
      <a:srgbClr val="E1EBF5"/>
    </a:custClr>
    <a:custClr name="Background Light Blue">
      <a:srgbClr val="E3F4FB"/>
    </a:custClr>
    <a:custClr>
      <a:srgbClr val="FFFFFF"/>
    </a:custClr>
    <a:custClr>
      <a:srgbClr val="FFFFFF"/>
    </a:custClr>
    <a:custClr>
      <a:srgbClr val="FFFFFF"/>
    </a:custClr>
    <a:custClr name="Green">
      <a:srgbClr val="339C3A"/>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GFT_PPT_Template_16x9.potx" id="{D72D3110-A780-470D-AF33-A0045DFC61F9}" vid="{C693A4E3-31DD-423C-A772-FB883E222FCC}"/>
    </a:ext>
  </a:extLst>
</a:theme>
</file>

<file path=ppt/theme/theme2.xml><?xml version="1.0" encoding="utf-8"?>
<a:theme xmlns:a="http://schemas.openxmlformats.org/drawingml/2006/main" name="GFT_Master_Template_16x9">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12700">
          <a:no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custClrLst>
    <a:custClr>
      <a:srgbClr val="FFFFFF"/>
    </a:custClr>
    <a:custClr>
      <a:srgbClr val="FFFFFF"/>
    </a:custClr>
    <a:custClr>
      <a:srgbClr val="FFFFFF"/>
    </a:custClr>
    <a:custClr>
      <a:srgbClr val="FFFFFF"/>
    </a:custClr>
    <a:custClr name="Blue 65%">
      <a:srgbClr val="5082BE"/>
    </a:custClr>
    <a:custClr name="Light Blue 65%">
      <a:srgbClr val="59BBE6"/>
    </a:custClr>
    <a:custClr name="Turquoise 65%">
      <a:srgbClr val="59BCCC"/>
    </a:custClr>
    <a:custClr>
      <a:srgbClr val="FFFFFF"/>
    </a:custClr>
    <a:custClr>
      <a:srgbClr val="FFFFFF"/>
    </a:custClr>
    <a:custClr name="Red">
      <a:srgbClr val="CC1000"/>
    </a:custClr>
    <a:custClr>
      <a:srgbClr val="FFFFFF"/>
    </a:custClr>
    <a:custClr>
      <a:srgbClr val="FFFFFF"/>
    </a:custClr>
    <a:custClr>
      <a:srgbClr val="FFFFFF"/>
    </a:custClr>
    <a:custClr>
      <a:srgbClr val="FFFFFF"/>
    </a:custClr>
    <a:custClr name="Blue 40%">
      <a:srgbClr val="73ACE1"/>
    </a:custClr>
    <a:custClr name="Light Blue 40%">
      <a:srgbClr val="99D5F0"/>
    </a:custClr>
    <a:custClr name="Turquoise 40%">
      <a:srgbClr val="99D6DF"/>
    </a:custClr>
    <a:custClr>
      <a:srgbClr val="FFFFFF"/>
    </a:custClr>
    <a:custClr>
      <a:srgbClr val="FFFFFF"/>
    </a:custClr>
    <a:custClr name="Yellow">
      <a:srgbClr val="FDC800"/>
    </a:custClr>
    <a:custClr>
      <a:srgbClr val="FFFFFF"/>
    </a:custClr>
    <a:custClr>
      <a:srgbClr val="FFFFFF"/>
    </a:custClr>
    <a:custClr>
      <a:srgbClr val="FFFFFF"/>
    </a:custClr>
    <a:custClr>
      <a:srgbClr val="FFFFFF"/>
    </a:custClr>
    <a:custClr name="Blue 25%">
      <a:srgbClr val="AAC8E6"/>
    </a:custClr>
    <a:custClr name="Light Blue 25%">
      <a:srgbClr val="BAE3F5"/>
    </a:custClr>
    <a:custClr name="Turquoise 25%">
      <a:srgbClr val="B2E0E7"/>
    </a:custClr>
    <a:custClr>
      <a:srgbClr val="FFFFFF"/>
    </a:custClr>
    <a:custClr>
      <a:srgbClr val="FFFFFF"/>
    </a:custClr>
    <a:custClr name="Green">
      <a:srgbClr val="339C3A"/>
    </a:custClr>
    <a:custClr>
      <a:srgbClr val="FFFFFF"/>
    </a:custClr>
    <a:custClr>
      <a:srgbClr val="FFFFFF"/>
    </a:custClr>
    <a:custClr>
      <a:srgbClr val="FFFFFF"/>
    </a:custClr>
    <a:custClr>
      <a:srgbClr val="FFFFFF"/>
    </a:custClr>
    <a:custClr name="Background Blue">
      <a:srgbClr val="E1EBF5"/>
    </a:custClr>
    <a:custClr name="Background Light Blue">
      <a:srgbClr val="E3F4FB"/>
    </a:custClr>
    <a:custClr name="Background Turquoise">
      <a:srgbClr val="E9FFFF"/>
    </a:custClr>
    <a:custClr name="Background Grey">
      <a:srgbClr val="EDEDED"/>
    </a:custClr>
    <a:custClr>
      <a:srgbClr val="FFFFFF"/>
    </a:custClr>
    <a:custClr>
      <a:srgbClr val="FFFFFF"/>
    </a:custClr>
  </a:custClrLst>
</a:theme>
</file>

<file path=ppt/theme/theme3.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3309</Words>
  <Application>Microsoft Office PowerPoint</Application>
  <PresentationFormat>On-screen Show (16:9)</PresentationFormat>
  <Paragraphs>579</Paragraphs>
  <Slides>34</Slides>
  <Notes>6</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34</vt:i4>
      </vt:variant>
    </vt:vector>
  </HeadingPairs>
  <TitlesOfParts>
    <vt:vector size="41" baseType="lpstr">
      <vt:lpstr>Arial</vt:lpstr>
      <vt:lpstr>Consolas</vt:lpstr>
      <vt:lpstr>Roboto</vt:lpstr>
      <vt:lpstr>Wingdings</vt:lpstr>
      <vt:lpstr>GFT_PPT_Template_16_9</vt:lpstr>
      <vt:lpstr>GFT_Master_Template_16x9</vt:lpstr>
      <vt:lpstr>think-cell Folie</vt:lpstr>
      <vt:lpstr>Apache Kafka </vt:lpstr>
      <vt:lpstr>PowerPoint Presentation</vt:lpstr>
      <vt:lpstr>Apache Kafka</vt:lpstr>
      <vt:lpstr>PowerPoint Presentation</vt:lpstr>
      <vt:lpstr>Messaging Systems</vt:lpstr>
      <vt:lpstr>What is Apache Kafka?</vt:lpstr>
      <vt:lpstr>Confluent</vt:lpstr>
      <vt:lpstr>Architecture overview</vt:lpstr>
      <vt:lpstr>Topics</vt:lpstr>
      <vt:lpstr>Replicas</vt:lpstr>
      <vt:lpstr>Record Retention</vt:lpstr>
      <vt:lpstr>Log Compaction</vt:lpstr>
      <vt:lpstr>Producers</vt:lpstr>
      <vt:lpstr>Consumers</vt:lpstr>
      <vt:lpstr>Delivery Semantics</vt:lpstr>
      <vt:lpstr>Kafka Streams</vt:lpstr>
      <vt:lpstr>Kafka Streams</vt:lpstr>
      <vt:lpstr>Kafka Streams</vt:lpstr>
      <vt:lpstr>Streams Duality</vt:lpstr>
      <vt:lpstr>State management</vt:lpstr>
      <vt:lpstr>Kafka Streams Operations</vt:lpstr>
      <vt:lpstr>KSQL</vt:lpstr>
      <vt:lpstr>KSQL</vt:lpstr>
      <vt:lpstr>KSQL</vt:lpstr>
      <vt:lpstr>Schema registry</vt:lpstr>
      <vt:lpstr>Kafka Schema Registry</vt:lpstr>
      <vt:lpstr>Kafka Schema Registry</vt:lpstr>
      <vt:lpstr>Kafka Schema Registry Example</vt:lpstr>
      <vt:lpstr>Kafka Connect</vt:lpstr>
      <vt:lpstr>Kafka Connect</vt:lpstr>
      <vt:lpstr>Kafka Connect</vt:lpstr>
      <vt:lpstr>Kafka Connect</vt:lpstr>
      <vt:lpstr>Kafka Connect Example</vt:lpstr>
      <vt:lpstr>PowerPoint Presenta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FT PPT Template</dc:title>
  <dc:creator>Colomer Cornejo, Marcelo</dc:creator>
  <cp:lastModifiedBy>Sanchis Soriano, Ruben</cp:lastModifiedBy>
  <cp:revision>51</cp:revision>
  <dcterms:created xsi:type="dcterms:W3CDTF">2020-02-19T09:01:40Z</dcterms:created>
  <dcterms:modified xsi:type="dcterms:W3CDTF">2021-12-02T16:35: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0F26842-5C4B-49D6-9954-1FF7DA29193C</vt:lpwstr>
  </property>
  <property fmtid="{D5CDD505-2E9C-101B-9397-08002B2CF9AE}" pid="3" name="ArticulatePath">
    <vt:lpwstr>Präsentation3</vt:lpwstr>
  </property>
</Properties>
</file>